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7" r:id="rId2"/>
    <p:sldMasterId id="2147483689" r:id="rId3"/>
  </p:sldMasterIdLst>
  <p:notesMasterIdLst>
    <p:notesMasterId r:id="rId14"/>
  </p:notesMasterIdLst>
  <p:sldIdLst>
    <p:sldId id="2147375597" r:id="rId4"/>
    <p:sldId id="2147375535" r:id="rId5"/>
    <p:sldId id="2147375544" r:id="rId6"/>
    <p:sldId id="2147375558" r:id="rId7"/>
    <p:sldId id="2147375602" r:id="rId8"/>
    <p:sldId id="2147375549" r:id="rId9"/>
    <p:sldId id="2147375557" r:id="rId10"/>
    <p:sldId id="2147375550" r:id="rId11"/>
    <p:sldId id="2147375600" r:id="rId12"/>
    <p:sldId id="2147375551"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66E49-659B-AB91-A18B-9176CE136DD2}" name="Yu ZHANG" initials="YZ" userId="S::yu.zhang@biogen.com::11f06e69-8208-432c-87f0-5ee8f160f5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FFFF"/>
    <a:srgbClr val="2473BA"/>
    <a:srgbClr val="5EA2E0"/>
    <a:srgbClr val="D2E5F6"/>
    <a:srgbClr val="B6D4F0"/>
    <a:srgbClr val="EEF5FC"/>
    <a:srgbClr val="4292DA"/>
    <a:srgbClr val="3072DC"/>
    <a:srgbClr val="3359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29714D-8105-4EBD-8A1B-8672F26A3C2C}" v="18" dt="2022-07-13T03:19:41.827"/>
    <p1510:client id="{EF0C46B5-BAC2-424C-8695-C2270FD67DA3}" v="12" dt="2022-07-13T04:27:51.056"/>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775" autoAdjust="0"/>
  </p:normalViewPr>
  <p:slideViewPr>
    <p:cSldViewPr snapToGrid="0">
      <p:cViewPr varScale="1">
        <p:scale>
          <a:sx n="66" d="100"/>
          <a:sy n="66" d="100"/>
        </p:scale>
        <p:origin x="668" y="52"/>
      </p:cViewPr>
      <p:guideLst/>
    </p:cSldViewPr>
  </p:slideViewPr>
  <p:notesTextViewPr>
    <p:cViewPr>
      <p:scale>
        <a:sx n="300" d="100"/>
        <a:sy n="3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3.xml"/><Relationship Id="rId21"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 Zhu" userId="e811ddc6-bcf6-470c-8d94-e14623f66bc3" providerId="ADAL" clId="{8029714D-8105-4EBD-8A1B-8672F26A3C2C}"/>
    <pc:docChg chg="undo redo custSel modSld">
      <pc:chgData name="Lin Zhu" userId="e811ddc6-bcf6-470c-8d94-e14623f66bc3" providerId="ADAL" clId="{8029714D-8105-4EBD-8A1B-8672F26A3C2C}" dt="2022-07-13T03:25:46.812" v="489" actId="20577"/>
      <pc:docMkLst>
        <pc:docMk/>
      </pc:docMkLst>
      <pc:sldChg chg="modSp mod">
        <pc:chgData name="Lin Zhu" userId="e811ddc6-bcf6-470c-8d94-e14623f66bc3" providerId="ADAL" clId="{8029714D-8105-4EBD-8A1B-8672F26A3C2C}" dt="2022-07-13T03:02:23.806" v="247" actId="20577"/>
        <pc:sldMkLst>
          <pc:docMk/>
          <pc:sldMk cId="681691481" sldId="2147375544"/>
        </pc:sldMkLst>
        <pc:spChg chg="mod">
          <ac:chgData name="Lin Zhu" userId="e811ddc6-bcf6-470c-8d94-e14623f66bc3" providerId="ADAL" clId="{8029714D-8105-4EBD-8A1B-8672F26A3C2C}" dt="2022-07-13T03:02:20.809" v="246" actId="20577"/>
          <ac:spMkLst>
            <pc:docMk/>
            <pc:sldMk cId="681691481" sldId="2147375544"/>
            <ac:spMk id="9" creationId="{A69FDBCD-A9B2-BC1A-3363-713DE82CD967}"/>
          </ac:spMkLst>
        </pc:spChg>
        <pc:spChg chg="mod">
          <ac:chgData name="Lin Zhu" userId="e811ddc6-bcf6-470c-8d94-e14623f66bc3" providerId="ADAL" clId="{8029714D-8105-4EBD-8A1B-8672F26A3C2C}" dt="2022-07-13T03:02:23.806" v="247" actId="20577"/>
          <ac:spMkLst>
            <pc:docMk/>
            <pc:sldMk cId="681691481" sldId="2147375544"/>
            <ac:spMk id="50" creationId="{088A9A7C-E2D6-4CC8-8817-A29A64CB0211}"/>
          </ac:spMkLst>
        </pc:spChg>
      </pc:sldChg>
      <pc:sldChg chg="addSp delSp modSp mod">
        <pc:chgData name="Lin Zhu" userId="e811ddc6-bcf6-470c-8d94-e14623f66bc3" providerId="ADAL" clId="{8029714D-8105-4EBD-8A1B-8672F26A3C2C}" dt="2022-07-13T03:13:25.216" v="315" actId="20577"/>
        <pc:sldMkLst>
          <pc:docMk/>
          <pc:sldMk cId="982856077" sldId="2147375548"/>
        </pc:sldMkLst>
        <pc:spChg chg="mod">
          <ac:chgData name="Lin Zhu" userId="e811ddc6-bcf6-470c-8d94-e14623f66bc3" providerId="ADAL" clId="{8029714D-8105-4EBD-8A1B-8672F26A3C2C}" dt="2022-07-12T14:39:35.190" v="43" actId="20577"/>
          <ac:spMkLst>
            <pc:docMk/>
            <pc:sldMk cId="982856077" sldId="2147375548"/>
            <ac:spMk id="15" creationId="{62A8D2F8-F689-D20D-86E9-32DB48986385}"/>
          </ac:spMkLst>
        </pc:spChg>
        <pc:graphicFrameChg chg="mod modGraphic">
          <ac:chgData name="Lin Zhu" userId="e811ddc6-bcf6-470c-8d94-e14623f66bc3" providerId="ADAL" clId="{8029714D-8105-4EBD-8A1B-8672F26A3C2C}" dt="2022-07-13T03:13:25.216" v="315" actId="20577"/>
          <ac:graphicFrameMkLst>
            <pc:docMk/>
            <pc:sldMk cId="982856077" sldId="2147375548"/>
            <ac:graphicFrameMk id="16" creationId="{9F9A9C42-6ECF-728E-39C3-7AAC93BA0FD7}"/>
          </ac:graphicFrameMkLst>
        </pc:graphicFrameChg>
        <pc:graphicFrameChg chg="add del mod">
          <ac:chgData name="Lin Zhu" userId="e811ddc6-bcf6-470c-8d94-e14623f66bc3" providerId="ADAL" clId="{8029714D-8105-4EBD-8A1B-8672F26A3C2C}" dt="2022-07-13T00:00:08.045" v="138" actId="21"/>
          <ac:graphicFrameMkLst>
            <pc:docMk/>
            <pc:sldMk cId="982856077" sldId="2147375548"/>
            <ac:graphicFrameMk id="17" creationId="{F75B0BD4-278B-EAA6-1A23-5E006F6929BB}"/>
          </ac:graphicFrameMkLst>
        </pc:graphicFrameChg>
        <pc:picChg chg="add del">
          <ac:chgData name="Lin Zhu" userId="e811ddc6-bcf6-470c-8d94-e14623f66bc3" providerId="ADAL" clId="{8029714D-8105-4EBD-8A1B-8672F26A3C2C}" dt="2022-07-12T15:12:24.914" v="47" actId="21"/>
          <ac:picMkLst>
            <pc:docMk/>
            <pc:sldMk cId="982856077" sldId="2147375548"/>
            <ac:picMk id="8" creationId="{AF9AE62E-E257-B417-DADC-B5CF057D8C6D}"/>
          </ac:picMkLst>
        </pc:picChg>
      </pc:sldChg>
      <pc:sldChg chg="addSp modSp mod modNotesTx">
        <pc:chgData name="Lin Zhu" userId="e811ddc6-bcf6-470c-8d94-e14623f66bc3" providerId="ADAL" clId="{8029714D-8105-4EBD-8A1B-8672F26A3C2C}" dt="2022-07-13T03:11:53.869" v="308" actId="14100"/>
        <pc:sldMkLst>
          <pc:docMk/>
          <pc:sldMk cId="3613517895" sldId="2147375549"/>
        </pc:sldMkLst>
        <pc:spChg chg="mod">
          <ac:chgData name="Lin Zhu" userId="e811ddc6-bcf6-470c-8d94-e14623f66bc3" providerId="ADAL" clId="{8029714D-8105-4EBD-8A1B-8672F26A3C2C}" dt="2022-07-13T03:10:52.714" v="298" actId="12789"/>
          <ac:spMkLst>
            <pc:docMk/>
            <pc:sldMk cId="3613517895" sldId="2147375549"/>
            <ac:spMk id="7" creationId="{E3776022-39B0-ED96-C5FB-D60CEA33A606}"/>
          </ac:spMkLst>
        </pc:spChg>
        <pc:spChg chg="mod">
          <ac:chgData name="Lin Zhu" userId="e811ddc6-bcf6-470c-8d94-e14623f66bc3" providerId="ADAL" clId="{8029714D-8105-4EBD-8A1B-8672F26A3C2C}" dt="2022-07-13T03:11:14.679" v="304" actId="552"/>
          <ac:spMkLst>
            <pc:docMk/>
            <pc:sldMk cId="3613517895" sldId="2147375549"/>
            <ac:spMk id="10" creationId="{0A821CFE-D687-59F7-50E3-17FFD81BB6C7}"/>
          </ac:spMkLst>
        </pc:spChg>
        <pc:spChg chg="mod">
          <ac:chgData name="Lin Zhu" userId="e811ddc6-bcf6-470c-8d94-e14623f66bc3" providerId="ADAL" clId="{8029714D-8105-4EBD-8A1B-8672F26A3C2C}" dt="2022-07-13T03:11:23.583" v="305" actId="14100"/>
          <ac:spMkLst>
            <pc:docMk/>
            <pc:sldMk cId="3613517895" sldId="2147375549"/>
            <ac:spMk id="12" creationId="{16C6275F-B29E-3FE0-D24B-D6C456AC40F3}"/>
          </ac:spMkLst>
        </pc:spChg>
        <pc:spChg chg="mod">
          <ac:chgData name="Lin Zhu" userId="e811ddc6-bcf6-470c-8d94-e14623f66bc3" providerId="ADAL" clId="{8029714D-8105-4EBD-8A1B-8672F26A3C2C}" dt="2022-07-13T03:11:53.869" v="308" actId="14100"/>
          <ac:spMkLst>
            <pc:docMk/>
            <pc:sldMk cId="3613517895" sldId="2147375549"/>
            <ac:spMk id="16" creationId="{E153F637-07F1-3C26-316E-65D3438F853F}"/>
          </ac:spMkLst>
        </pc:spChg>
        <pc:spChg chg="mod">
          <ac:chgData name="Lin Zhu" userId="e811ddc6-bcf6-470c-8d94-e14623f66bc3" providerId="ADAL" clId="{8029714D-8105-4EBD-8A1B-8672F26A3C2C}" dt="2022-07-13T03:10:52.714" v="298" actId="12789"/>
          <ac:spMkLst>
            <pc:docMk/>
            <pc:sldMk cId="3613517895" sldId="2147375549"/>
            <ac:spMk id="17" creationId="{29998FB3-7A29-DD11-CFB6-5B7F686DCC0C}"/>
          </ac:spMkLst>
        </pc:spChg>
        <pc:spChg chg="mod">
          <ac:chgData name="Lin Zhu" userId="e811ddc6-bcf6-470c-8d94-e14623f66bc3" providerId="ADAL" clId="{8029714D-8105-4EBD-8A1B-8672F26A3C2C}" dt="2022-07-13T03:11:14.679" v="304" actId="552"/>
          <ac:spMkLst>
            <pc:docMk/>
            <pc:sldMk cId="3613517895" sldId="2147375549"/>
            <ac:spMk id="18" creationId="{30E68C7D-0A16-CE38-B707-79D2777F5F59}"/>
          </ac:spMkLst>
        </pc:spChg>
        <pc:spChg chg="mod">
          <ac:chgData name="Lin Zhu" userId="e811ddc6-bcf6-470c-8d94-e14623f66bc3" providerId="ADAL" clId="{8029714D-8105-4EBD-8A1B-8672F26A3C2C}" dt="2022-07-13T03:10:48.061" v="297" actId="12789"/>
          <ac:spMkLst>
            <pc:docMk/>
            <pc:sldMk cId="3613517895" sldId="2147375549"/>
            <ac:spMk id="19" creationId="{D6F4F6E0-8E64-E4B5-4014-556D6CC46623}"/>
          </ac:spMkLst>
        </pc:spChg>
        <pc:spChg chg="mod">
          <ac:chgData name="Lin Zhu" userId="e811ddc6-bcf6-470c-8d94-e14623f66bc3" providerId="ADAL" clId="{8029714D-8105-4EBD-8A1B-8672F26A3C2C}" dt="2022-07-13T03:11:05.249" v="301" actId="12789"/>
          <ac:spMkLst>
            <pc:docMk/>
            <pc:sldMk cId="3613517895" sldId="2147375549"/>
            <ac:spMk id="20" creationId="{0B3C5286-D2E4-51EF-6117-6404B858EBDA}"/>
          </ac:spMkLst>
        </pc:spChg>
        <pc:spChg chg="mod">
          <ac:chgData name="Lin Zhu" userId="e811ddc6-bcf6-470c-8d94-e14623f66bc3" providerId="ADAL" clId="{8029714D-8105-4EBD-8A1B-8672F26A3C2C}" dt="2022-07-13T03:10:48.061" v="297" actId="12789"/>
          <ac:spMkLst>
            <pc:docMk/>
            <pc:sldMk cId="3613517895" sldId="2147375549"/>
            <ac:spMk id="22" creationId="{450794D9-9E3E-6DAC-DE55-D7EBE7A907FC}"/>
          </ac:spMkLst>
        </pc:spChg>
        <pc:spChg chg="mod">
          <ac:chgData name="Lin Zhu" userId="e811ddc6-bcf6-470c-8d94-e14623f66bc3" providerId="ADAL" clId="{8029714D-8105-4EBD-8A1B-8672F26A3C2C}" dt="2022-07-13T03:11:05.249" v="301" actId="12789"/>
          <ac:spMkLst>
            <pc:docMk/>
            <pc:sldMk cId="3613517895" sldId="2147375549"/>
            <ac:spMk id="23" creationId="{E2526D8B-B579-39D7-4E25-C6123AE05A0A}"/>
          </ac:spMkLst>
        </pc:spChg>
        <pc:spChg chg="add mod">
          <ac:chgData name="Lin Zhu" userId="e811ddc6-bcf6-470c-8d94-e14623f66bc3" providerId="ADAL" clId="{8029714D-8105-4EBD-8A1B-8672F26A3C2C}" dt="2022-07-13T03:11:11.765" v="303" actId="571"/>
          <ac:spMkLst>
            <pc:docMk/>
            <pc:sldMk cId="3613517895" sldId="2147375549"/>
            <ac:spMk id="24" creationId="{4B94574F-DBE8-5404-FC7D-AC8C1F7DFB99}"/>
          </ac:spMkLst>
        </pc:spChg>
        <pc:spChg chg="add mod">
          <ac:chgData name="Lin Zhu" userId="e811ddc6-bcf6-470c-8d94-e14623f66bc3" providerId="ADAL" clId="{8029714D-8105-4EBD-8A1B-8672F26A3C2C}" dt="2022-07-13T03:11:11.765" v="303" actId="571"/>
          <ac:spMkLst>
            <pc:docMk/>
            <pc:sldMk cId="3613517895" sldId="2147375549"/>
            <ac:spMk id="25" creationId="{31DF1D00-9C0A-DA45-B74C-A8E914E136B0}"/>
          </ac:spMkLst>
        </pc:spChg>
        <pc:spChg chg="add mod">
          <ac:chgData name="Lin Zhu" userId="e811ddc6-bcf6-470c-8d94-e14623f66bc3" providerId="ADAL" clId="{8029714D-8105-4EBD-8A1B-8672F26A3C2C}" dt="2022-07-13T03:11:11.765" v="303" actId="571"/>
          <ac:spMkLst>
            <pc:docMk/>
            <pc:sldMk cId="3613517895" sldId="2147375549"/>
            <ac:spMk id="26" creationId="{D20EFDC7-1FE8-6BF7-7EF3-B3F4FE6E0F9A}"/>
          </ac:spMkLst>
        </pc:spChg>
      </pc:sldChg>
      <pc:sldChg chg="modSp mod">
        <pc:chgData name="Lin Zhu" userId="e811ddc6-bcf6-470c-8d94-e14623f66bc3" providerId="ADAL" clId="{8029714D-8105-4EBD-8A1B-8672F26A3C2C}" dt="2022-07-13T03:23:19.328" v="440" actId="1076"/>
        <pc:sldMkLst>
          <pc:docMk/>
          <pc:sldMk cId="1409331655" sldId="2147375550"/>
        </pc:sldMkLst>
        <pc:spChg chg="mod">
          <ac:chgData name="Lin Zhu" userId="e811ddc6-bcf6-470c-8d94-e14623f66bc3" providerId="ADAL" clId="{8029714D-8105-4EBD-8A1B-8672F26A3C2C}" dt="2022-07-13T03:22:34.171" v="425" actId="14100"/>
          <ac:spMkLst>
            <pc:docMk/>
            <pc:sldMk cId="1409331655" sldId="2147375550"/>
            <ac:spMk id="17" creationId="{3E67EDD8-9DC7-8EE2-5CE0-227EA2521C0D}"/>
          </ac:spMkLst>
        </pc:spChg>
        <pc:spChg chg="mod">
          <ac:chgData name="Lin Zhu" userId="e811ddc6-bcf6-470c-8d94-e14623f66bc3" providerId="ADAL" clId="{8029714D-8105-4EBD-8A1B-8672F26A3C2C}" dt="2022-07-13T03:23:19.328" v="440" actId="1076"/>
          <ac:spMkLst>
            <pc:docMk/>
            <pc:sldMk cId="1409331655" sldId="2147375550"/>
            <ac:spMk id="18" creationId="{0429CB4E-6CE4-FC96-0A7A-6F7FFF62D963}"/>
          </ac:spMkLst>
        </pc:spChg>
        <pc:graphicFrameChg chg="mod">
          <ac:chgData name="Lin Zhu" userId="e811ddc6-bcf6-470c-8d94-e14623f66bc3" providerId="ADAL" clId="{8029714D-8105-4EBD-8A1B-8672F26A3C2C}" dt="2022-07-13T03:21:17.256" v="411" actId="1076"/>
          <ac:graphicFrameMkLst>
            <pc:docMk/>
            <pc:sldMk cId="1409331655" sldId="2147375550"/>
            <ac:graphicFrameMk id="29" creationId="{F89F3387-D40F-14E6-910C-5F659FF53E3D}"/>
          </ac:graphicFrameMkLst>
        </pc:graphicFrameChg>
      </pc:sldChg>
      <pc:sldChg chg="modSp mod">
        <pc:chgData name="Lin Zhu" userId="e811ddc6-bcf6-470c-8d94-e14623f66bc3" providerId="ADAL" clId="{8029714D-8105-4EBD-8A1B-8672F26A3C2C}" dt="2022-07-13T03:25:46.812" v="489" actId="20577"/>
        <pc:sldMkLst>
          <pc:docMk/>
          <pc:sldMk cId="1942088210" sldId="2147375551"/>
        </pc:sldMkLst>
        <pc:spChg chg="mod">
          <ac:chgData name="Lin Zhu" userId="e811ddc6-bcf6-470c-8d94-e14623f66bc3" providerId="ADAL" clId="{8029714D-8105-4EBD-8A1B-8672F26A3C2C}" dt="2022-07-13T03:25:36.775" v="478" actId="14100"/>
          <ac:spMkLst>
            <pc:docMk/>
            <pc:sldMk cId="1942088210" sldId="2147375551"/>
            <ac:spMk id="3" creationId="{1CC419F9-655A-A028-69C3-442C118D03F9}"/>
          </ac:spMkLst>
        </pc:spChg>
        <pc:spChg chg="mod">
          <ac:chgData name="Lin Zhu" userId="e811ddc6-bcf6-470c-8d94-e14623f66bc3" providerId="ADAL" clId="{8029714D-8105-4EBD-8A1B-8672F26A3C2C}" dt="2022-07-13T03:25:46.812" v="489" actId="20577"/>
          <ac:spMkLst>
            <pc:docMk/>
            <pc:sldMk cId="1942088210" sldId="2147375551"/>
            <ac:spMk id="5" creationId="{E6A52B5A-7DBC-1F4A-3D65-AFC0590BB1F1}"/>
          </ac:spMkLst>
        </pc:spChg>
        <pc:spChg chg="mod">
          <ac:chgData name="Lin Zhu" userId="e811ddc6-bcf6-470c-8d94-e14623f66bc3" providerId="ADAL" clId="{8029714D-8105-4EBD-8A1B-8672F26A3C2C}" dt="2022-07-13T03:25:29.594" v="476" actId="14100"/>
          <ac:spMkLst>
            <pc:docMk/>
            <pc:sldMk cId="1942088210" sldId="2147375551"/>
            <ac:spMk id="8" creationId="{E9EC9CE0-96ED-8B96-59DA-6FDF6B9A0D67}"/>
          </ac:spMkLst>
        </pc:spChg>
        <pc:spChg chg="mod">
          <ac:chgData name="Lin Zhu" userId="e811ddc6-bcf6-470c-8d94-e14623f66bc3" providerId="ADAL" clId="{8029714D-8105-4EBD-8A1B-8672F26A3C2C}" dt="2022-07-13T03:25:09.552" v="470" actId="1035"/>
          <ac:spMkLst>
            <pc:docMk/>
            <pc:sldMk cId="1942088210" sldId="2147375551"/>
            <ac:spMk id="9" creationId="{C273D101-3A4C-F08E-EB9B-FF89B440B592}"/>
          </ac:spMkLst>
        </pc:spChg>
        <pc:spChg chg="mod">
          <ac:chgData name="Lin Zhu" userId="e811ddc6-bcf6-470c-8d94-e14623f66bc3" providerId="ADAL" clId="{8029714D-8105-4EBD-8A1B-8672F26A3C2C}" dt="2022-07-13T03:25:09.552" v="470" actId="1035"/>
          <ac:spMkLst>
            <pc:docMk/>
            <pc:sldMk cId="1942088210" sldId="2147375551"/>
            <ac:spMk id="19" creationId="{8A1E26EA-9108-0386-913D-DCE981ED4154}"/>
          </ac:spMkLst>
        </pc:spChg>
        <pc:spChg chg="mod">
          <ac:chgData name="Lin Zhu" userId="e811ddc6-bcf6-470c-8d94-e14623f66bc3" providerId="ADAL" clId="{8029714D-8105-4EBD-8A1B-8672F26A3C2C}" dt="2022-07-13T03:25:09.552" v="470" actId="1035"/>
          <ac:spMkLst>
            <pc:docMk/>
            <pc:sldMk cId="1942088210" sldId="2147375551"/>
            <ac:spMk id="23" creationId="{5EE40694-1C7E-53BE-F34F-FE1D5E00EDB8}"/>
          </ac:spMkLst>
        </pc:spChg>
        <pc:grpChg chg="mod">
          <ac:chgData name="Lin Zhu" userId="e811ddc6-bcf6-470c-8d94-e14623f66bc3" providerId="ADAL" clId="{8029714D-8105-4EBD-8A1B-8672F26A3C2C}" dt="2022-07-13T03:25:09.552" v="470" actId="1035"/>
          <ac:grpSpMkLst>
            <pc:docMk/>
            <pc:sldMk cId="1942088210" sldId="2147375551"/>
            <ac:grpSpMk id="24" creationId="{8BAF4D07-F7CD-7C76-479A-C4C15C4F2B2A}"/>
          </ac:grpSpMkLst>
        </pc:grpChg>
      </pc:sldChg>
      <pc:sldChg chg="addSp delSp modSp mod modNotesTx">
        <pc:chgData name="Lin Zhu" userId="e811ddc6-bcf6-470c-8d94-e14623f66bc3" providerId="ADAL" clId="{8029714D-8105-4EBD-8A1B-8672F26A3C2C}" dt="2022-07-13T03:21:01.490" v="410" actId="1038"/>
        <pc:sldMkLst>
          <pc:docMk/>
          <pc:sldMk cId="4023221810" sldId="2147375557"/>
        </pc:sldMkLst>
        <pc:spChg chg="mod">
          <ac:chgData name="Lin Zhu" userId="e811ddc6-bcf6-470c-8d94-e14623f66bc3" providerId="ADAL" clId="{8029714D-8105-4EBD-8A1B-8672F26A3C2C}" dt="2022-07-13T03:15:07.245" v="318" actId="948"/>
          <ac:spMkLst>
            <pc:docMk/>
            <pc:sldMk cId="4023221810" sldId="2147375557"/>
            <ac:spMk id="9" creationId="{8A38454A-54C4-6046-7CE0-FECFEF213458}"/>
          </ac:spMkLst>
        </pc:spChg>
        <pc:spChg chg="mod">
          <ac:chgData name="Lin Zhu" userId="e811ddc6-bcf6-470c-8d94-e14623f66bc3" providerId="ADAL" clId="{8029714D-8105-4EBD-8A1B-8672F26A3C2C}" dt="2022-07-13T03:20:35.029" v="402" actId="12789"/>
          <ac:spMkLst>
            <pc:docMk/>
            <pc:sldMk cId="4023221810" sldId="2147375557"/>
            <ac:spMk id="30" creationId="{57BCBCFA-2145-845A-5588-B47D0BA4C357}"/>
          </ac:spMkLst>
        </pc:spChg>
        <pc:spChg chg="mod">
          <ac:chgData name="Lin Zhu" userId="e811ddc6-bcf6-470c-8d94-e14623f66bc3" providerId="ADAL" clId="{8029714D-8105-4EBD-8A1B-8672F26A3C2C}" dt="2022-07-13T03:15:48.105" v="321" actId="1076"/>
          <ac:spMkLst>
            <pc:docMk/>
            <pc:sldMk cId="4023221810" sldId="2147375557"/>
            <ac:spMk id="33" creationId="{C29FA5F6-E2F4-A7A0-BC6B-5193F688641A}"/>
          </ac:spMkLst>
        </pc:spChg>
        <pc:spChg chg="add del mod">
          <ac:chgData name="Lin Zhu" userId="e811ddc6-bcf6-470c-8d94-e14623f66bc3" providerId="ADAL" clId="{8029714D-8105-4EBD-8A1B-8672F26A3C2C}" dt="2022-07-13T03:15:50.065" v="322"/>
          <ac:spMkLst>
            <pc:docMk/>
            <pc:sldMk cId="4023221810" sldId="2147375557"/>
            <ac:spMk id="34" creationId="{334F4688-66EF-F60E-0275-19D95E31D0FF}"/>
          </ac:spMkLst>
        </pc:spChg>
        <pc:spChg chg="add mod topLvl">
          <ac:chgData name="Lin Zhu" userId="e811ddc6-bcf6-470c-8d94-e14623f66bc3" providerId="ADAL" clId="{8029714D-8105-4EBD-8A1B-8672F26A3C2C}" dt="2022-07-13T03:20:35.029" v="402" actId="12789"/>
          <ac:spMkLst>
            <pc:docMk/>
            <pc:sldMk cId="4023221810" sldId="2147375557"/>
            <ac:spMk id="35" creationId="{4D2FB4BF-9045-C084-7E3E-F97D9385BE15}"/>
          </ac:spMkLst>
        </pc:spChg>
        <pc:spChg chg="add mod topLvl">
          <ac:chgData name="Lin Zhu" userId="e811ddc6-bcf6-470c-8d94-e14623f66bc3" providerId="ADAL" clId="{8029714D-8105-4EBD-8A1B-8672F26A3C2C}" dt="2022-07-13T03:21:01.490" v="410" actId="1038"/>
          <ac:spMkLst>
            <pc:docMk/>
            <pc:sldMk cId="4023221810" sldId="2147375557"/>
            <ac:spMk id="36" creationId="{4278BB3A-BDFC-28DB-843A-7B26F1F0A84F}"/>
          </ac:spMkLst>
        </pc:spChg>
        <pc:spChg chg="mod">
          <ac:chgData name="Lin Zhu" userId="e811ddc6-bcf6-470c-8d94-e14623f66bc3" providerId="ADAL" clId="{8029714D-8105-4EBD-8A1B-8672F26A3C2C}" dt="2022-07-12T15:34:00.109" v="127" actId="108"/>
          <ac:spMkLst>
            <pc:docMk/>
            <pc:sldMk cId="4023221810" sldId="2147375557"/>
            <ac:spMk id="47" creationId="{44BF92B1-8478-9986-0CD1-918E424B9A8C}"/>
          </ac:spMkLst>
        </pc:spChg>
        <pc:grpChg chg="add del mod">
          <ac:chgData name="Lin Zhu" userId="e811ddc6-bcf6-470c-8d94-e14623f66bc3" providerId="ADAL" clId="{8029714D-8105-4EBD-8A1B-8672F26A3C2C}" dt="2022-07-13T03:19:41.826" v="389" actId="165"/>
          <ac:grpSpMkLst>
            <pc:docMk/>
            <pc:sldMk cId="4023221810" sldId="2147375557"/>
            <ac:grpSpMk id="3" creationId="{60966749-8F90-CB89-C583-4A2C5250A805}"/>
          </ac:grpSpMkLst>
        </pc:grpChg>
      </pc:sldChg>
      <pc:sldChg chg="addSp delSp modSp mod">
        <pc:chgData name="Lin Zhu" userId="e811ddc6-bcf6-470c-8d94-e14623f66bc3" providerId="ADAL" clId="{8029714D-8105-4EBD-8A1B-8672F26A3C2C}" dt="2022-07-13T02:59:17.537" v="238" actId="1076"/>
        <pc:sldMkLst>
          <pc:docMk/>
          <pc:sldMk cId="2631130505" sldId="2147375597"/>
        </pc:sldMkLst>
        <pc:spChg chg="mod">
          <ac:chgData name="Lin Zhu" userId="e811ddc6-bcf6-470c-8d94-e14623f66bc3" providerId="ADAL" clId="{8029714D-8105-4EBD-8A1B-8672F26A3C2C}" dt="2022-07-13T02:54:27.014" v="178" actId="1076"/>
          <ac:spMkLst>
            <pc:docMk/>
            <pc:sldMk cId="2631130505" sldId="2147375597"/>
            <ac:spMk id="5" creationId="{305E7C09-E4C8-B593-1218-8152318ACF72}"/>
          </ac:spMkLst>
        </pc:spChg>
        <pc:spChg chg="mod">
          <ac:chgData name="Lin Zhu" userId="e811ddc6-bcf6-470c-8d94-e14623f66bc3" providerId="ADAL" clId="{8029714D-8105-4EBD-8A1B-8672F26A3C2C}" dt="2022-07-13T02:54:32.542" v="179" actId="1076"/>
          <ac:spMkLst>
            <pc:docMk/>
            <pc:sldMk cId="2631130505" sldId="2147375597"/>
            <ac:spMk id="7" creationId="{E0FFF74A-5696-F910-0C4A-2F186245878B}"/>
          </ac:spMkLst>
        </pc:spChg>
        <pc:spChg chg="mod">
          <ac:chgData name="Lin Zhu" userId="e811ddc6-bcf6-470c-8d94-e14623f66bc3" providerId="ADAL" clId="{8029714D-8105-4EBD-8A1B-8672F26A3C2C}" dt="2022-07-13T02:59:17.537" v="238" actId="1076"/>
          <ac:spMkLst>
            <pc:docMk/>
            <pc:sldMk cId="2631130505" sldId="2147375597"/>
            <ac:spMk id="9" creationId="{73A163D5-A34E-25B2-CF49-D88EC295AD83}"/>
          </ac:spMkLst>
        </pc:spChg>
        <pc:spChg chg="add del mod">
          <ac:chgData name="Lin Zhu" userId="e811ddc6-bcf6-470c-8d94-e14623f66bc3" providerId="ADAL" clId="{8029714D-8105-4EBD-8A1B-8672F26A3C2C}" dt="2022-07-13T02:55:57.298" v="186"/>
          <ac:spMkLst>
            <pc:docMk/>
            <pc:sldMk cId="2631130505" sldId="2147375597"/>
            <ac:spMk id="10" creationId="{A88B3A9A-232C-270A-8B72-20BA07AE28E9}"/>
          </ac:spMkLst>
        </pc:spChg>
        <pc:spChg chg="add mod">
          <ac:chgData name="Lin Zhu" userId="e811ddc6-bcf6-470c-8d94-e14623f66bc3" providerId="ADAL" clId="{8029714D-8105-4EBD-8A1B-8672F26A3C2C}" dt="2022-07-13T02:59:12.641" v="237" actId="1036"/>
          <ac:spMkLst>
            <pc:docMk/>
            <pc:sldMk cId="2631130505" sldId="2147375597"/>
            <ac:spMk id="11" creationId="{AAC26A33-9E78-FD61-0CD3-178D684FE216}"/>
          </ac:spMkLst>
        </pc:spChg>
        <pc:picChg chg="add del mod">
          <ac:chgData name="Lin Zhu" userId="e811ddc6-bcf6-470c-8d94-e14623f66bc3" providerId="ADAL" clId="{8029714D-8105-4EBD-8A1B-8672F26A3C2C}" dt="2022-07-13T02:57:43.027" v="207" actId="21"/>
          <ac:picMkLst>
            <pc:docMk/>
            <pc:sldMk cId="2631130505" sldId="2147375597"/>
            <ac:picMk id="2" creationId="{D7393D5C-4322-A963-ECA7-F2150D1CF37F}"/>
          </ac:picMkLst>
        </pc:picChg>
      </pc:sldChg>
      <pc:sldChg chg="modSp mod">
        <pc:chgData name="Lin Zhu" userId="e811ddc6-bcf6-470c-8d94-e14623f66bc3" providerId="ADAL" clId="{8029714D-8105-4EBD-8A1B-8672F26A3C2C}" dt="2022-07-13T03:24:40.634" v="441" actId="20577"/>
        <pc:sldMkLst>
          <pc:docMk/>
          <pc:sldMk cId="2290487412" sldId="2147375600"/>
        </pc:sldMkLst>
        <pc:spChg chg="mod">
          <ac:chgData name="Lin Zhu" userId="e811ddc6-bcf6-470c-8d94-e14623f66bc3" providerId="ADAL" clId="{8029714D-8105-4EBD-8A1B-8672F26A3C2C}" dt="2022-07-12T15:34:46.758" v="134" actId="20577"/>
          <ac:spMkLst>
            <pc:docMk/>
            <pc:sldMk cId="2290487412" sldId="2147375600"/>
            <ac:spMk id="5" creationId="{E6A52B5A-7DBC-1F4A-3D65-AFC0590BB1F1}"/>
          </ac:spMkLst>
        </pc:spChg>
        <pc:spChg chg="mod">
          <ac:chgData name="Lin Zhu" userId="e811ddc6-bcf6-470c-8d94-e14623f66bc3" providerId="ADAL" clId="{8029714D-8105-4EBD-8A1B-8672F26A3C2C}" dt="2022-07-13T03:24:40.634" v="441" actId="20577"/>
          <ac:spMkLst>
            <pc:docMk/>
            <pc:sldMk cId="2290487412" sldId="2147375600"/>
            <ac:spMk id="9" creationId="{C273D101-3A4C-F08E-EB9B-FF89B440B592}"/>
          </ac:spMkLst>
        </pc:spChg>
        <pc:spChg chg="mod">
          <ac:chgData name="Lin Zhu" userId="e811ddc6-bcf6-470c-8d94-e14623f66bc3" providerId="ADAL" clId="{8029714D-8105-4EBD-8A1B-8672F26A3C2C}" dt="2022-07-12T15:34:56.668" v="137" actId="20577"/>
          <ac:spMkLst>
            <pc:docMk/>
            <pc:sldMk cId="2290487412" sldId="2147375600"/>
            <ac:spMk id="19" creationId="{8596E77E-E109-7CFB-A086-5787071C6EE5}"/>
          </ac:spMkLst>
        </pc:spChg>
      </pc:sldChg>
      <pc:sldChg chg="modSp mod">
        <pc:chgData name="Lin Zhu" userId="e811ddc6-bcf6-470c-8d94-e14623f66bc3" providerId="ADAL" clId="{8029714D-8105-4EBD-8A1B-8672F26A3C2C}" dt="2022-07-13T03:06:31.523" v="264" actId="113"/>
        <pc:sldMkLst>
          <pc:docMk/>
          <pc:sldMk cId="4005424225" sldId="2147375602"/>
        </pc:sldMkLst>
        <pc:spChg chg="mod">
          <ac:chgData name="Lin Zhu" userId="e811ddc6-bcf6-470c-8d94-e14623f66bc3" providerId="ADAL" clId="{8029714D-8105-4EBD-8A1B-8672F26A3C2C}" dt="2022-07-13T03:06:31.523" v="264" actId="113"/>
          <ac:spMkLst>
            <pc:docMk/>
            <pc:sldMk cId="4005424225" sldId="2147375602"/>
            <ac:spMk id="35" creationId="{A7B23CEB-9727-0A64-9BE3-6C39B42F81C2}"/>
          </ac:spMkLst>
        </pc:spChg>
        <pc:graphicFrameChg chg="modGraphic">
          <ac:chgData name="Lin Zhu" userId="e811ddc6-bcf6-470c-8d94-e14623f66bc3" providerId="ADAL" clId="{8029714D-8105-4EBD-8A1B-8672F26A3C2C}" dt="2022-07-13T03:05:48.937" v="263" actId="20577"/>
          <ac:graphicFrameMkLst>
            <pc:docMk/>
            <pc:sldMk cId="4005424225" sldId="2147375602"/>
            <ac:graphicFrameMk id="8" creationId="{77DB25E3-C291-46DC-8907-00A23D6DCCCB}"/>
          </ac:graphicFrameMkLst>
        </pc:graphicFrameChg>
        <pc:graphicFrameChg chg="modGraphic">
          <ac:chgData name="Lin Zhu" userId="e811ddc6-bcf6-470c-8d94-e14623f66bc3" providerId="ADAL" clId="{8029714D-8105-4EBD-8A1B-8672F26A3C2C}" dt="2022-07-12T14:36:42.307" v="35" actId="20577"/>
          <ac:graphicFrameMkLst>
            <pc:docMk/>
            <pc:sldMk cId="4005424225" sldId="2147375602"/>
            <ac:graphicFrameMk id="32" creationId="{CE9F30BD-F586-97A5-6200-B48681FFB083}"/>
          </ac:graphicFrameMkLst>
        </pc:graphicFrameChg>
      </pc:sldChg>
    </pc:docChg>
  </pc:docChgLst>
  <pc:docChgLst>
    <pc:chgData name="Lin Zhu" userId="e811ddc6-bcf6-470c-8d94-e14623f66bc3" providerId="ADAL" clId="{EF0C46B5-BAC2-424C-8695-C2270FD67DA3}"/>
    <pc:docChg chg="custSel delSld modSld replTag">
      <pc:chgData name="Lin Zhu" userId="e811ddc6-bcf6-470c-8d94-e14623f66bc3" providerId="ADAL" clId="{EF0C46B5-BAC2-424C-8695-C2270FD67DA3}" dt="2022-07-13T04:27:51.056" v="163"/>
      <pc:docMkLst>
        <pc:docMk/>
      </pc:docMkLst>
      <pc:sldChg chg="delSp modSp mod">
        <pc:chgData name="Lin Zhu" userId="e811ddc6-bcf6-470c-8d94-e14623f66bc3" providerId="ADAL" clId="{EF0C46B5-BAC2-424C-8695-C2270FD67DA3}" dt="2022-07-13T04:27:06.461" v="24" actId="21"/>
        <pc:sldMkLst>
          <pc:docMk/>
          <pc:sldMk cId="122345613" sldId="2147375535"/>
        </pc:sldMkLst>
        <pc:spChg chg="mod">
          <ac:chgData name="Lin Zhu" userId="e811ddc6-bcf6-470c-8d94-e14623f66bc3" providerId="ADAL" clId="{EF0C46B5-BAC2-424C-8695-C2270FD67DA3}" dt="2022-07-13T04:26:54.141" v="22" actId="20577"/>
          <ac:spMkLst>
            <pc:docMk/>
            <pc:sldMk cId="122345613" sldId="2147375535"/>
            <ac:spMk id="20" creationId="{8CA1343B-05E5-7C3A-95E4-5F7E091E7858}"/>
          </ac:spMkLst>
        </pc:spChg>
        <pc:spChg chg="mod">
          <ac:chgData name="Lin Zhu" userId="e811ddc6-bcf6-470c-8d94-e14623f66bc3" providerId="ADAL" clId="{EF0C46B5-BAC2-424C-8695-C2270FD67DA3}" dt="2022-07-13T04:26:49.467" v="11" actId="20577"/>
          <ac:spMkLst>
            <pc:docMk/>
            <pc:sldMk cId="122345613" sldId="2147375535"/>
            <ac:spMk id="31" creationId="{D51E6F91-772A-EDC7-6755-7DA28CB115FD}"/>
          </ac:spMkLst>
        </pc:spChg>
        <pc:spChg chg="del">
          <ac:chgData name="Lin Zhu" userId="e811ddc6-bcf6-470c-8d94-e14623f66bc3" providerId="ADAL" clId="{EF0C46B5-BAC2-424C-8695-C2270FD67DA3}" dt="2022-07-13T04:27:01.154" v="23" actId="21"/>
          <ac:spMkLst>
            <pc:docMk/>
            <pc:sldMk cId="122345613" sldId="2147375535"/>
            <ac:spMk id="35" creationId="{FC2C6095-8004-3483-64ED-9855E22832DA}"/>
          </ac:spMkLst>
        </pc:spChg>
        <pc:spChg chg="del">
          <ac:chgData name="Lin Zhu" userId="e811ddc6-bcf6-470c-8d94-e14623f66bc3" providerId="ADAL" clId="{EF0C46B5-BAC2-424C-8695-C2270FD67DA3}" dt="2022-07-13T04:27:06.461" v="24" actId="21"/>
          <ac:spMkLst>
            <pc:docMk/>
            <pc:sldMk cId="122345613" sldId="2147375535"/>
            <ac:spMk id="36" creationId="{8145E80E-3DDA-5DC7-5F07-D0CA727C2E54}"/>
          </ac:spMkLst>
        </pc:spChg>
        <pc:spChg chg="del">
          <ac:chgData name="Lin Zhu" userId="e811ddc6-bcf6-470c-8d94-e14623f66bc3" providerId="ADAL" clId="{EF0C46B5-BAC2-424C-8695-C2270FD67DA3}" dt="2022-07-13T04:27:06.461" v="24" actId="21"/>
          <ac:spMkLst>
            <pc:docMk/>
            <pc:sldMk cId="122345613" sldId="2147375535"/>
            <ac:spMk id="37" creationId="{E1CD2110-F07C-0E8B-21DD-CD2059AFE8A5}"/>
          </ac:spMkLst>
        </pc:spChg>
        <pc:spChg chg="del">
          <ac:chgData name="Lin Zhu" userId="e811ddc6-bcf6-470c-8d94-e14623f66bc3" providerId="ADAL" clId="{EF0C46B5-BAC2-424C-8695-C2270FD67DA3}" dt="2022-07-13T04:27:01.154" v="23" actId="21"/>
          <ac:spMkLst>
            <pc:docMk/>
            <pc:sldMk cId="122345613" sldId="2147375535"/>
            <ac:spMk id="38" creationId="{9EFAF979-82CE-A0DF-A757-E8A45E2AB9BC}"/>
          </ac:spMkLst>
        </pc:spChg>
      </pc:sldChg>
      <pc:sldChg chg="del">
        <pc:chgData name="Lin Zhu" userId="e811ddc6-bcf6-470c-8d94-e14623f66bc3" providerId="ADAL" clId="{EF0C46B5-BAC2-424C-8695-C2270FD67DA3}" dt="2022-07-13T04:27:38.214" v="25" actId="2696"/>
        <pc:sldMkLst>
          <pc:docMk/>
          <pc:sldMk cId="982856077" sldId="2147375548"/>
        </pc:sldMkLst>
      </pc:sldChg>
      <pc:sldChg chg="addSp delSp modSp mod">
        <pc:chgData name="Lin Zhu" userId="e811ddc6-bcf6-470c-8d94-e14623f66bc3" providerId="ADAL" clId="{EF0C46B5-BAC2-424C-8695-C2270FD67DA3}" dt="2022-07-13T04:27:46.492" v="117"/>
        <pc:sldMkLst>
          <pc:docMk/>
          <pc:sldMk cId="1409331655" sldId="2147375550"/>
        </pc:sldMkLst>
        <pc:spChg chg="mod">
          <ac:chgData name="Lin Zhu" userId="e811ddc6-bcf6-470c-8d94-e14623f66bc3" providerId="ADAL" clId="{EF0C46B5-BAC2-424C-8695-C2270FD67DA3}" dt="2022-07-13T04:27:46.429" v="74" actId="948"/>
          <ac:spMkLst>
            <pc:docMk/>
            <pc:sldMk cId="1409331655" sldId="2147375550"/>
            <ac:spMk id="2" creationId="{B796B700-F557-6CB4-898F-D3366E5C7009}"/>
          </ac:spMkLst>
        </pc:spChg>
        <pc:spChg chg="add del mod modVis">
          <ac:chgData name="Lin Zhu" userId="e811ddc6-bcf6-470c-8d94-e14623f66bc3" providerId="ADAL" clId="{EF0C46B5-BAC2-424C-8695-C2270FD67DA3}" dt="2022-07-13T04:27:46.491" v="115"/>
          <ac:spMkLst>
            <pc:docMk/>
            <pc:sldMk cId="1409331655" sldId="2147375550"/>
            <ac:spMk id="3" creationId="{BDF4D495-1A5A-BB0B-9C7C-36C1DB269B3D}"/>
          </ac:spMkLst>
        </pc:spChg>
        <pc:graphicFrameChg chg="mod">
          <ac:chgData name="Lin Zhu" userId="e811ddc6-bcf6-470c-8d94-e14623f66bc3" providerId="ADAL" clId="{EF0C46B5-BAC2-424C-8695-C2270FD67DA3}" dt="2022-07-13T04:27:46.492" v="117"/>
          <ac:graphicFrameMkLst>
            <pc:docMk/>
            <pc:sldMk cId="1409331655" sldId="2147375550"/>
            <ac:graphicFrameMk id="4" creationId="{F7B85717-A91F-5BF1-C794-DEFADBA702EA}"/>
          </ac:graphicFrameMkLst>
        </pc:graphicFrameChg>
      </pc:sldChg>
      <pc:sldChg chg="addSp delSp modSp mod">
        <pc:chgData name="Lin Zhu" userId="e811ddc6-bcf6-470c-8d94-e14623f66bc3" providerId="ADAL" clId="{EF0C46B5-BAC2-424C-8695-C2270FD67DA3}" dt="2022-07-13T04:27:42.020" v="71"/>
        <pc:sldMkLst>
          <pc:docMk/>
          <pc:sldMk cId="4023221810" sldId="2147375557"/>
        </pc:sldMkLst>
        <pc:spChg chg="mod">
          <ac:chgData name="Lin Zhu" userId="e811ddc6-bcf6-470c-8d94-e14623f66bc3" providerId="ADAL" clId="{EF0C46B5-BAC2-424C-8695-C2270FD67DA3}" dt="2022-07-13T04:27:41.962" v="28" actId="948"/>
          <ac:spMkLst>
            <pc:docMk/>
            <pc:sldMk cId="4023221810" sldId="2147375557"/>
            <ac:spMk id="2" creationId="{C45C06FD-3042-2345-7925-A90537B5D829}"/>
          </ac:spMkLst>
        </pc:spChg>
        <pc:spChg chg="add del mod modVis">
          <ac:chgData name="Lin Zhu" userId="e811ddc6-bcf6-470c-8d94-e14623f66bc3" providerId="ADAL" clId="{EF0C46B5-BAC2-424C-8695-C2270FD67DA3}" dt="2022-07-13T04:27:42.011" v="69"/>
          <ac:spMkLst>
            <pc:docMk/>
            <pc:sldMk cId="4023221810" sldId="2147375557"/>
            <ac:spMk id="3" creationId="{9A355A3C-D0B0-06E4-6834-E13D8E1303D7}"/>
          </ac:spMkLst>
        </pc:spChg>
        <pc:graphicFrameChg chg="mod">
          <ac:chgData name="Lin Zhu" userId="e811ddc6-bcf6-470c-8d94-e14623f66bc3" providerId="ADAL" clId="{EF0C46B5-BAC2-424C-8695-C2270FD67DA3}" dt="2022-07-13T04:27:42.020" v="71"/>
          <ac:graphicFrameMkLst>
            <pc:docMk/>
            <pc:sldMk cId="4023221810" sldId="2147375557"/>
            <ac:graphicFrameMk id="4" creationId="{F7B85717-A91F-5BF1-C794-DEFADBA702EA}"/>
          </ac:graphicFrameMkLst>
        </pc:graphicFrameChg>
      </pc:sldChg>
      <pc:sldChg chg="addSp delSp modSp mod">
        <pc:chgData name="Lin Zhu" userId="e811ddc6-bcf6-470c-8d94-e14623f66bc3" providerId="ADAL" clId="{EF0C46B5-BAC2-424C-8695-C2270FD67DA3}" dt="2022-07-13T04:27:51.056" v="163"/>
        <pc:sldMkLst>
          <pc:docMk/>
          <pc:sldMk cId="2290487412" sldId="2147375600"/>
        </pc:sldMkLst>
        <pc:spChg chg="add del mod modVis">
          <ac:chgData name="Lin Zhu" userId="e811ddc6-bcf6-470c-8d94-e14623f66bc3" providerId="ADAL" clId="{EF0C46B5-BAC2-424C-8695-C2270FD67DA3}" dt="2022-07-13T04:27:51.052" v="161"/>
          <ac:spMkLst>
            <pc:docMk/>
            <pc:sldMk cId="2290487412" sldId="2147375600"/>
            <ac:spMk id="2" creationId="{927485B5-E02D-79D9-A55C-06BD2EBBA0C0}"/>
          </ac:spMkLst>
        </pc:spChg>
        <pc:spChg chg="mod">
          <ac:chgData name="Lin Zhu" userId="e811ddc6-bcf6-470c-8d94-e14623f66bc3" providerId="ADAL" clId="{EF0C46B5-BAC2-424C-8695-C2270FD67DA3}" dt="2022-07-13T04:27:51" v="120" actId="948"/>
          <ac:spMkLst>
            <pc:docMk/>
            <pc:sldMk cId="2290487412" sldId="2147375600"/>
            <ac:spMk id="11" creationId="{92AB2B26-99E6-DB78-89A6-357A2C8419BA}"/>
          </ac:spMkLst>
        </pc:spChg>
        <pc:graphicFrameChg chg="mod">
          <ac:chgData name="Lin Zhu" userId="e811ddc6-bcf6-470c-8d94-e14623f66bc3" providerId="ADAL" clId="{EF0C46B5-BAC2-424C-8695-C2270FD67DA3}" dt="2022-07-13T04:27:51.056" v="163"/>
          <ac:graphicFrameMkLst>
            <pc:docMk/>
            <pc:sldMk cId="2290487412" sldId="2147375600"/>
            <ac:graphicFrameMk id="4" creationId="{F7B85717-A91F-5BF1-C794-DEFADBA702E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8DDEEF-244D-40E1-BB21-C47F08C1B54D}" type="datetimeFigureOut">
              <a:rPr lang="zh-CN" altLang="en-US" smtClean="0"/>
              <a:t>2022/7/1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EC2496-0326-42E3-BAE2-D693A17A5337}" type="slidenum">
              <a:rPr lang="zh-CN" altLang="en-US" smtClean="0"/>
              <a:t>‹#›</a:t>
            </a:fld>
            <a:endParaRPr lang="zh-CN" altLang="en-US"/>
          </a:p>
        </p:txBody>
      </p:sp>
    </p:spTree>
    <p:extLst>
      <p:ext uri="{BB962C8B-B14F-4D97-AF65-F5344CB8AC3E}">
        <p14:creationId xmlns:p14="http://schemas.microsoft.com/office/powerpoint/2010/main" val="5255429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1</a:t>
            </a:fld>
            <a:endParaRPr lang="zh-CN" altLang="en-US"/>
          </a:p>
        </p:txBody>
      </p:sp>
    </p:spTree>
    <p:extLst>
      <p:ext uri="{BB962C8B-B14F-4D97-AF65-F5344CB8AC3E}">
        <p14:creationId xmlns:p14="http://schemas.microsoft.com/office/powerpoint/2010/main" val="596973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 </a:t>
            </a:r>
            <a:endParaRPr lang="en-US" altLang="zh-CN" sz="1200" dirty="0">
              <a:solidFill>
                <a:prstClr val="black"/>
              </a:solidFill>
              <a:latin typeface="Arial" panose="020B0604020202020204" pitchFamily="34" charset="0"/>
              <a:ea typeface="微软雅黑" panose="020B0503020204020204" pitchFamily="34" charset="-122"/>
              <a:sym typeface="Arial" panose="020B0604020202020204" pitchFamily="34" charset="0"/>
            </a:endParaRPr>
          </a:p>
          <a:p>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3</a:t>
            </a:fld>
            <a:endParaRPr lang="zh-CN" altLang="en-US"/>
          </a:p>
        </p:txBody>
      </p:sp>
    </p:spTree>
    <p:extLst>
      <p:ext uri="{BB962C8B-B14F-4D97-AF65-F5344CB8AC3E}">
        <p14:creationId xmlns:p14="http://schemas.microsoft.com/office/powerpoint/2010/main" val="2838346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00" dirty="0">
                <a:solidFill>
                  <a:srgbClr val="212121"/>
                </a:solidFill>
                <a:effectLst/>
                <a:latin typeface="Segoe UI" panose="020B0502040204020203" pitchFamily="34" charset="0"/>
                <a:ea typeface="等线" panose="02010600030101010101" pitchFamily="2" charset="-122"/>
                <a:cs typeface="楷体_GB2312"/>
              </a:rPr>
              <a:t> </a:t>
            </a:r>
            <a:endParaRPr lang="zh-CN" altLang="zh-CN" sz="1200" kern="100" dirty="0">
              <a:effectLst/>
              <a:latin typeface="Times New Roman" panose="02020603050405020304" pitchFamily="18" charset="0"/>
              <a:ea typeface="等线" panose="02010600030101010101" pitchFamily="2" charset="-122"/>
              <a:cs typeface="楷体_GB2312"/>
            </a:endParaRPr>
          </a:p>
          <a:p>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4</a:t>
            </a:fld>
            <a:endParaRPr lang="zh-CN" altLang="en-US"/>
          </a:p>
        </p:txBody>
      </p:sp>
    </p:spTree>
    <p:extLst>
      <p:ext uri="{BB962C8B-B14F-4D97-AF65-F5344CB8AC3E}">
        <p14:creationId xmlns:p14="http://schemas.microsoft.com/office/powerpoint/2010/main" val="1833812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0" lang="en-US" altLang="zh-CN" sz="1200" b="0" i="0" u="none" strike="noStrike" kern="1200" cap="none" spc="0" normalizeH="0" baseline="0" noProof="0" dirty="0">
              <a:ln>
                <a:noFill/>
              </a:ln>
              <a:solidFill>
                <a:prstClr val="black"/>
              </a:solidFill>
              <a:effectLst/>
              <a:uLnTx/>
              <a:uFillTx/>
              <a:latin typeface="微软雅黑"/>
              <a:ea typeface="微软雅黑"/>
              <a:cs typeface="+mn-cs"/>
            </a:endParaRPr>
          </a:p>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C2496-0326-42E3-BAE2-D693A17A533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048034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lvl="0" indent="0" algn="just">
              <a:buFont typeface="+mj-lt"/>
              <a:buNone/>
            </a:pPr>
            <a:r>
              <a:rPr kumimoji="0" lang="en-US" altLang="zh-CN" sz="12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7</a:t>
            </a:r>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6</a:t>
            </a:fld>
            <a:endParaRPr lang="zh-CN" altLang="en-US"/>
          </a:p>
        </p:txBody>
      </p:sp>
    </p:spTree>
    <p:extLst>
      <p:ext uri="{BB962C8B-B14F-4D97-AF65-F5344CB8AC3E}">
        <p14:creationId xmlns:p14="http://schemas.microsoft.com/office/powerpoint/2010/main" val="173226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7</a:t>
            </a:fld>
            <a:endParaRPr lang="zh-CN" altLang="en-US"/>
          </a:p>
        </p:txBody>
      </p:sp>
    </p:spTree>
    <p:extLst>
      <p:ext uri="{BB962C8B-B14F-4D97-AF65-F5344CB8AC3E}">
        <p14:creationId xmlns:p14="http://schemas.microsoft.com/office/powerpoint/2010/main" val="4114937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8</a:t>
            </a:fld>
            <a:endParaRPr lang="zh-CN" altLang="en-US"/>
          </a:p>
        </p:txBody>
      </p:sp>
    </p:spTree>
    <p:extLst>
      <p:ext uri="{BB962C8B-B14F-4D97-AF65-F5344CB8AC3E}">
        <p14:creationId xmlns:p14="http://schemas.microsoft.com/office/powerpoint/2010/main" val="3736417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C2496-0326-42E3-BAE2-D693A17A533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7235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AEC2496-0326-42E3-BAE2-D693A17A5337}" type="slidenum">
              <a:rPr lang="zh-CN" altLang="en-US" smtClean="0"/>
              <a:t>10</a:t>
            </a:fld>
            <a:endParaRPr lang="zh-CN" altLang="en-US"/>
          </a:p>
        </p:txBody>
      </p:sp>
    </p:spTree>
    <p:extLst>
      <p:ext uri="{BB962C8B-B14F-4D97-AF65-F5344CB8AC3E}">
        <p14:creationId xmlns:p14="http://schemas.microsoft.com/office/powerpoint/2010/main" val="34354059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1.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1.jp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9.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1.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11.jp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7" name="Google Shape;216;p41">
            <a:extLst>
              <a:ext uri="{FF2B5EF4-FFF2-40B4-BE49-F238E27FC236}">
                <a16:creationId xmlns:a16="http://schemas.microsoft.com/office/drawing/2014/main" id="{0C6434BF-0834-6196-1EA6-D7A65EDFF98E}"/>
              </a:ext>
            </a:extLst>
          </p:cNvPr>
          <p:cNvPicPr preferRelativeResize="0"/>
          <p:nvPr userDrawn="1"/>
        </p:nvPicPr>
        <p:blipFill rotWithShape="1">
          <a:blip r:embed="rId2">
            <a:alphaModFix/>
          </a:blip>
          <a:srcRect/>
          <a:stretch/>
        </p:blipFill>
        <p:spPr>
          <a:xfrm>
            <a:off x="0" y="0"/>
            <a:ext cx="12192000" cy="6858000"/>
          </a:xfrm>
          <a:prstGeom prst="rect">
            <a:avLst/>
          </a:prstGeom>
          <a:noFill/>
          <a:ln>
            <a:noFill/>
          </a:ln>
        </p:spPr>
      </p:pic>
    </p:spTree>
    <p:extLst>
      <p:ext uri="{BB962C8B-B14F-4D97-AF65-F5344CB8AC3E}">
        <p14:creationId xmlns:p14="http://schemas.microsoft.com/office/powerpoint/2010/main" val="2496185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5664EF7-3811-4B1E-BC23-9800356970E6}"/>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56FE21C3-492F-4DDB-8906-5AC19C6E1DDE}"/>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4" name="页脚占位符 3">
            <a:extLst>
              <a:ext uri="{FF2B5EF4-FFF2-40B4-BE49-F238E27FC236}">
                <a16:creationId xmlns:a16="http://schemas.microsoft.com/office/drawing/2014/main" id="{92866545-D064-4070-A78D-6A9C14D43509}"/>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a:extLst>
              <a:ext uri="{FF2B5EF4-FFF2-40B4-BE49-F238E27FC236}">
                <a16:creationId xmlns:a16="http://schemas.microsoft.com/office/drawing/2014/main" id="{E118E69D-A8ED-48E3-B31B-5443B0911BCC}"/>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4032459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D9160FC6-D58A-4DF8-9533-A4FB046F156E}"/>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3" name="页脚占位符 2">
            <a:extLst>
              <a:ext uri="{FF2B5EF4-FFF2-40B4-BE49-F238E27FC236}">
                <a16:creationId xmlns:a16="http://schemas.microsoft.com/office/drawing/2014/main" id="{2BF88B5E-7A88-44AC-9760-214050271C64}"/>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a:extLst>
              <a:ext uri="{FF2B5EF4-FFF2-40B4-BE49-F238E27FC236}">
                <a16:creationId xmlns:a16="http://schemas.microsoft.com/office/drawing/2014/main" id="{F81728C1-91A4-413A-A3E5-73F503824B3A}"/>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4130595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A0328B-47D1-411A-BB41-675A4B1073F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F937057D-F618-4190-8354-D3603D19855A}"/>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C76364B2-96C0-4456-96CD-317AD5244A9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E94847EE-9436-4B26-8FFA-012CF05F72C6}"/>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F8334F1A-10FC-4886-9E41-99C62F6DA193}"/>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9C8035EE-39B1-4B2D-8288-BC5ECCE3FA07}"/>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1807605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C4E728-1E21-40DD-9299-0AA5EBE8145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670FFEC5-24CB-4F82-89E7-DFF7A2B3C64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A53A7E0F-D0EA-47CB-BA9B-23F7B9D3F86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62C44B36-B067-4F99-8567-94BFCEF44DDA}"/>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EEDAB1F9-CE42-4CA8-9EA1-B977C6DB51B8}"/>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3E7D0DA6-C3FF-42F9-95A0-12BC1AE526B1}"/>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1807044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DC6E066-719A-48E4-A42C-2563BD1AAF7C}"/>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11306CC1-69FB-42F0-950E-16F7FEC012F5}"/>
              </a:ext>
            </a:extLst>
          </p:cNvPr>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CBBF0D27-B8AA-48E1-B3B8-DC572C4AA6A3}"/>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5CA81783-3B0D-4427-A35C-CEBBD6E033AF}"/>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0A5D57B6-569A-40A7-8239-250850639639}"/>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3830472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2C7E88B8-BFD9-46F6-BB5B-6279B50F5AAA}"/>
              </a:ext>
            </a:extLst>
          </p:cNvPr>
          <p:cNvSpPr>
            <a:spLocks noGrp="1"/>
          </p:cNvSpPr>
          <p:nvPr>
            <p:ph type="title" orient="vert"/>
          </p:nvPr>
        </p:nvSpPr>
        <p:spPr>
          <a:xfrm>
            <a:off x="8724900" y="365125"/>
            <a:ext cx="2628900" cy="5811838"/>
          </a:xfrm>
          <a:prstGeom prst="rect">
            <a:avLst/>
          </a:prstGeo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21B92E39-0C7B-423A-A95F-9F3A33C2CFEE}"/>
              </a:ext>
            </a:extLst>
          </p:cNvPr>
          <p:cNvSpPr>
            <a:spLocks noGrp="1"/>
          </p:cNvSpPr>
          <p:nvPr>
            <p:ph type="body" orient="vert" idx="1"/>
          </p:nvPr>
        </p:nvSpPr>
        <p:spPr>
          <a:xfrm>
            <a:off x="838200" y="365125"/>
            <a:ext cx="7734300" cy="5811838"/>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F23D96E1-4316-45D0-912E-DDF37C6CEA5C}"/>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278BF708-BB75-448D-912A-B5FB915B3D94}"/>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736E9307-FCF9-47B7-903E-7E467B413DB2}"/>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1714196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v1">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A673FD25-602A-EE45-A443-EDB6C71B7011}"/>
              </a:ext>
            </a:extLst>
          </p:cNvPr>
          <p:cNvPicPr>
            <a:picLocks noChangeAspect="1"/>
          </p:cNvPicPr>
          <p:nvPr userDrawn="1"/>
        </p:nvPicPr>
        <p:blipFill>
          <a:blip r:embed="rId2"/>
          <a:srcRect/>
          <a:stretch/>
        </p:blipFill>
        <p:spPr>
          <a:xfrm>
            <a:off x="4069909" y="2312062"/>
            <a:ext cx="4096657" cy="3811171"/>
          </a:xfrm>
          <a:prstGeom prst="rect">
            <a:avLst/>
          </a:prstGeom>
        </p:spPr>
      </p:pic>
      <p:pic>
        <p:nvPicPr>
          <p:cNvPr id="14" name="Picture 13">
            <a:extLst>
              <a:ext uri="{FF2B5EF4-FFF2-40B4-BE49-F238E27FC236}">
                <a16:creationId xmlns:a16="http://schemas.microsoft.com/office/drawing/2014/main" id="{89C3A803-8A99-0F48-9E6A-805781F78FD9}"/>
              </a:ext>
            </a:extLst>
          </p:cNvPr>
          <p:cNvPicPr>
            <a:picLocks/>
          </p:cNvPicPr>
          <p:nvPr userDrawn="1"/>
        </p:nvPicPr>
        <p:blipFill rotWithShape="1">
          <a:blip r:embed="rId3"/>
          <a:srcRect r="1045" b="1045"/>
          <a:stretch/>
        </p:blipFill>
        <p:spPr>
          <a:xfrm>
            <a:off x="573" y="2311182"/>
            <a:ext cx="4070980" cy="3813013"/>
          </a:xfrm>
          <a:prstGeom prst="rect">
            <a:avLst/>
          </a:prstGeom>
        </p:spPr>
      </p:pic>
      <p:pic>
        <p:nvPicPr>
          <p:cNvPr id="39" name="Picture 38">
            <a:extLst>
              <a:ext uri="{FF2B5EF4-FFF2-40B4-BE49-F238E27FC236}">
                <a16:creationId xmlns:a16="http://schemas.microsoft.com/office/drawing/2014/main" id="{E9264C17-5CFC-7C4A-BC1D-6D62193F1B32}"/>
              </a:ext>
            </a:extLst>
          </p:cNvPr>
          <p:cNvPicPr>
            <a:picLocks noChangeAspect="1"/>
          </p:cNvPicPr>
          <p:nvPr userDrawn="1"/>
        </p:nvPicPr>
        <p:blipFill rotWithShape="1">
          <a:blip r:embed="rId4"/>
          <a:srcRect r="926"/>
          <a:stretch/>
        </p:blipFill>
        <p:spPr>
          <a:xfrm>
            <a:off x="8136692" y="2310218"/>
            <a:ext cx="4054736" cy="3813014"/>
          </a:xfrm>
          <a:prstGeom prst="rect">
            <a:avLst/>
          </a:prstGeom>
        </p:spPr>
      </p:pic>
      <p:sp>
        <p:nvSpPr>
          <p:cNvPr id="2" name="Title 1"/>
          <p:cNvSpPr>
            <a:spLocks noGrp="1"/>
          </p:cNvSpPr>
          <p:nvPr userDrawn="1">
            <p:ph type="ctrTitle" hasCustomPrompt="1"/>
          </p:nvPr>
        </p:nvSpPr>
        <p:spPr>
          <a:xfrm>
            <a:off x="817536" y="1299831"/>
            <a:ext cx="8534400" cy="413508"/>
          </a:xfrm>
        </p:spPr>
        <p:txBody>
          <a:bodyPr anchor="b" anchorCtr="0">
            <a:noAutofit/>
          </a:bodyPr>
          <a:lstStyle>
            <a:lvl1pPr algn="l">
              <a:lnSpc>
                <a:spcPct val="100000"/>
              </a:lnSpc>
              <a:defRPr sz="2931" b="0" i="0" cap="none"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userDrawn="1">
            <p:ph type="subTitle" idx="1" hasCustomPrompt="1"/>
          </p:nvPr>
        </p:nvSpPr>
        <p:spPr>
          <a:xfrm>
            <a:off x="817536" y="1774989"/>
            <a:ext cx="8534400" cy="268487"/>
          </a:xfrm>
        </p:spPr>
        <p:txBody>
          <a:bodyPr vert="horz" lIns="0" tIns="0" rIns="0" bIns="0" rtlCol="0" anchor="t" anchorCtr="0">
            <a:noAutofit/>
          </a:bodyPr>
          <a:lstStyle>
            <a:lvl1pPr>
              <a:defRPr lang="en-US" sz="1599" b="0" cap="none" dirty="0">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9" name="Text Placeholder 8">
            <a:extLst>
              <a:ext uri="{FF2B5EF4-FFF2-40B4-BE49-F238E27FC236}">
                <a16:creationId xmlns:a16="http://schemas.microsoft.com/office/drawing/2014/main" id="{ED85305D-8883-F94A-9EFE-760EAB55F955}"/>
              </a:ext>
            </a:extLst>
          </p:cNvPr>
          <p:cNvSpPr>
            <a:spLocks noGrp="1"/>
          </p:cNvSpPr>
          <p:nvPr userDrawn="1">
            <p:ph type="body" sz="quarter" idx="10"/>
          </p:nvPr>
        </p:nvSpPr>
        <p:spPr>
          <a:xfrm>
            <a:off x="298681"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15" name="Text Placeholder 8">
            <a:extLst>
              <a:ext uri="{FF2B5EF4-FFF2-40B4-BE49-F238E27FC236}">
                <a16:creationId xmlns:a16="http://schemas.microsoft.com/office/drawing/2014/main" id="{9A813B4F-AB62-5242-8CFF-D427F3C18880}"/>
              </a:ext>
            </a:extLst>
          </p:cNvPr>
          <p:cNvSpPr>
            <a:spLocks noGrp="1"/>
          </p:cNvSpPr>
          <p:nvPr userDrawn="1">
            <p:ph type="body" sz="quarter" idx="11"/>
          </p:nvPr>
        </p:nvSpPr>
        <p:spPr>
          <a:xfrm>
            <a:off x="298681"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12" name="TextBox 11">
            <a:extLst>
              <a:ext uri="{FF2B5EF4-FFF2-40B4-BE49-F238E27FC236}">
                <a16:creationId xmlns:a16="http://schemas.microsoft.com/office/drawing/2014/main" id="{680964C1-B0A1-414E-B14A-8EE0229717C0}"/>
              </a:ext>
            </a:extLst>
          </p:cNvPr>
          <p:cNvSpPr txBox="1"/>
          <p:nvPr userDrawn="1"/>
        </p:nvSpPr>
        <p:spPr>
          <a:xfrm>
            <a:off x="760242" y="6434855"/>
            <a:ext cx="6219218" cy="215315"/>
          </a:xfrm>
          <a:prstGeom prst="rect">
            <a:avLst/>
          </a:prstGeom>
          <a:noFill/>
          <a:ln w="12700">
            <a:noFill/>
          </a:ln>
        </p:spPr>
        <p:txBody>
          <a:bodyPr wrap="none" lIns="60904" rIns="60904" rtlCol="0">
            <a:spAutoFit/>
          </a:bodyPr>
          <a:lstStyle/>
          <a:p>
            <a:pPr algn="l"/>
            <a:r>
              <a:rPr lang="en-US" sz="799"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6" name="Text Placeholder 8">
            <a:extLst>
              <a:ext uri="{FF2B5EF4-FFF2-40B4-BE49-F238E27FC236}">
                <a16:creationId xmlns:a16="http://schemas.microsoft.com/office/drawing/2014/main" id="{3B55556C-2E6B-C541-A6F6-499BD9AC006C}"/>
              </a:ext>
            </a:extLst>
          </p:cNvPr>
          <p:cNvSpPr>
            <a:spLocks noGrp="1"/>
          </p:cNvSpPr>
          <p:nvPr userDrawn="1">
            <p:ph type="body" sz="quarter" idx="12"/>
          </p:nvPr>
        </p:nvSpPr>
        <p:spPr>
          <a:xfrm>
            <a:off x="298681"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27" name="Text Placeholder 8">
            <a:extLst>
              <a:ext uri="{FF2B5EF4-FFF2-40B4-BE49-F238E27FC236}">
                <a16:creationId xmlns:a16="http://schemas.microsoft.com/office/drawing/2014/main" id="{2FDD1235-9320-374F-8BC5-DC02FB8C8B44}"/>
              </a:ext>
            </a:extLst>
          </p:cNvPr>
          <p:cNvSpPr>
            <a:spLocks noGrp="1"/>
          </p:cNvSpPr>
          <p:nvPr userDrawn="1">
            <p:ph type="body" sz="quarter" idx="13"/>
          </p:nvPr>
        </p:nvSpPr>
        <p:spPr>
          <a:xfrm>
            <a:off x="298681"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29" name="Text Placeholder 8">
            <a:extLst>
              <a:ext uri="{FF2B5EF4-FFF2-40B4-BE49-F238E27FC236}">
                <a16:creationId xmlns:a16="http://schemas.microsoft.com/office/drawing/2014/main" id="{99D4F6A8-9014-4B40-ADEA-23A65D216D56}"/>
              </a:ext>
            </a:extLst>
          </p:cNvPr>
          <p:cNvSpPr>
            <a:spLocks noGrp="1"/>
          </p:cNvSpPr>
          <p:nvPr userDrawn="1">
            <p:ph type="body" sz="quarter" idx="14"/>
          </p:nvPr>
        </p:nvSpPr>
        <p:spPr>
          <a:xfrm>
            <a:off x="4424949"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1" name="Text Placeholder 8">
            <a:extLst>
              <a:ext uri="{FF2B5EF4-FFF2-40B4-BE49-F238E27FC236}">
                <a16:creationId xmlns:a16="http://schemas.microsoft.com/office/drawing/2014/main" id="{F7794BCC-2EF4-C946-B0F5-9EE2AE5C5C6F}"/>
              </a:ext>
            </a:extLst>
          </p:cNvPr>
          <p:cNvSpPr>
            <a:spLocks noGrp="1"/>
          </p:cNvSpPr>
          <p:nvPr userDrawn="1">
            <p:ph type="body" sz="quarter" idx="15"/>
          </p:nvPr>
        </p:nvSpPr>
        <p:spPr>
          <a:xfrm>
            <a:off x="4424949"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2" name="Text Placeholder 8">
            <a:extLst>
              <a:ext uri="{FF2B5EF4-FFF2-40B4-BE49-F238E27FC236}">
                <a16:creationId xmlns:a16="http://schemas.microsoft.com/office/drawing/2014/main" id="{AA0AD5E0-C0F4-9F47-96D2-BF610E17AF52}"/>
              </a:ext>
            </a:extLst>
          </p:cNvPr>
          <p:cNvSpPr>
            <a:spLocks noGrp="1"/>
          </p:cNvSpPr>
          <p:nvPr userDrawn="1">
            <p:ph type="body" sz="quarter" idx="16"/>
          </p:nvPr>
        </p:nvSpPr>
        <p:spPr>
          <a:xfrm>
            <a:off x="4424949"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3" name="Text Placeholder 8">
            <a:extLst>
              <a:ext uri="{FF2B5EF4-FFF2-40B4-BE49-F238E27FC236}">
                <a16:creationId xmlns:a16="http://schemas.microsoft.com/office/drawing/2014/main" id="{669EF2F6-B76C-9D4C-8659-19A5C8A70CB0}"/>
              </a:ext>
            </a:extLst>
          </p:cNvPr>
          <p:cNvSpPr>
            <a:spLocks noGrp="1"/>
          </p:cNvSpPr>
          <p:nvPr userDrawn="1">
            <p:ph type="body" sz="quarter" idx="17"/>
          </p:nvPr>
        </p:nvSpPr>
        <p:spPr>
          <a:xfrm>
            <a:off x="4424949"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4" name="Text Placeholder 8">
            <a:extLst>
              <a:ext uri="{FF2B5EF4-FFF2-40B4-BE49-F238E27FC236}">
                <a16:creationId xmlns:a16="http://schemas.microsoft.com/office/drawing/2014/main" id="{270CCFC5-E2A1-3141-BA7E-623F7D07EF3A}"/>
              </a:ext>
            </a:extLst>
          </p:cNvPr>
          <p:cNvSpPr>
            <a:spLocks noGrp="1"/>
          </p:cNvSpPr>
          <p:nvPr userDrawn="1">
            <p:ph type="body" sz="quarter" idx="18"/>
          </p:nvPr>
        </p:nvSpPr>
        <p:spPr>
          <a:xfrm>
            <a:off x="8480928"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5" name="Text Placeholder 8">
            <a:extLst>
              <a:ext uri="{FF2B5EF4-FFF2-40B4-BE49-F238E27FC236}">
                <a16:creationId xmlns:a16="http://schemas.microsoft.com/office/drawing/2014/main" id="{893F325A-70E0-334D-BE0C-09F59EE55EC2}"/>
              </a:ext>
            </a:extLst>
          </p:cNvPr>
          <p:cNvSpPr>
            <a:spLocks noGrp="1"/>
          </p:cNvSpPr>
          <p:nvPr userDrawn="1">
            <p:ph type="body" sz="quarter" idx="19"/>
          </p:nvPr>
        </p:nvSpPr>
        <p:spPr>
          <a:xfrm>
            <a:off x="8480928"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6" name="Text Placeholder 8">
            <a:extLst>
              <a:ext uri="{FF2B5EF4-FFF2-40B4-BE49-F238E27FC236}">
                <a16:creationId xmlns:a16="http://schemas.microsoft.com/office/drawing/2014/main" id="{B336266E-E946-0F48-B6FA-E90BEDD030FB}"/>
              </a:ext>
            </a:extLst>
          </p:cNvPr>
          <p:cNvSpPr>
            <a:spLocks noGrp="1"/>
          </p:cNvSpPr>
          <p:nvPr userDrawn="1">
            <p:ph type="body" sz="quarter" idx="20"/>
          </p:nvPr>
        </p:nvSpPr>
        <p:spPr>
          <a:xfrm>
            <a:off x="8480928"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7" name="Text Placeholder 8">
            <a:extLst>
              <a:ext uri="{FF2B5EF4-FFF2-40B4-BE49-F238E27FC236}">
                <a16:creationId xmlns:a16="http://schemas.microsoft.com/office/drawing/2014/main" id="{FD7AF74D-9E7A-BF4A-AEBF-F8354F694424}"/>
              </a:ext>
            </a:extLst>
          </p:cNvPr>
          <p:cNvSpPr>
            <a:spLocks noGrp="1"/>
          </p:cNvSpPr>
          <p:nvPr userDrawn="1">
            <p:ph type="body" sz="quarter" idx="21"/>
          </p:nvPr>
        </p:nvSpPr>
        <p:spPr>
          <a:xfrm>
            <a:off x="8480928"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grpSp>
        <p:nvGrpSpPr>
          <p:cNvPr id="28" name="Group 27">
            <a:extLst>
              <a:ext uri="{FF2B5EF4-FFF2-40B4-BE49-F238E27FC236}">
                <a16:creationId xmlns:a16="http://schemas.microsoft.com/office/drawing/2014/main" id="{03420E07-1D6F-FE47-827C-8B05CB2712B8}"/>
              </a:ext>
            </a:extLst>
          </p:cNvPr>
          <p:cNvGrpSpPr/>
          <p:nvPr userDrawn="1"/>
        </p:nvGrpSpPr>
        <p:grpSpPr>
          <a:xfrm>
            <a:off x="-5" y="6764982"/>
            <a:ext cx="12192004" cy="91440"/>
            <a:chOff x="-4" y="5045891"/>
            <a:chExt cx="9144003" cy="102377"/>
          </a:xfrm>
        </p:grpSpPr>
        <p:sp>
          <p:nvSpPr>
            <p:cNvPr id="30" name="Rectangle 29">
              <a:extLst>
                <a:ext uri="{FF2B5EF4-FFF2-40B4-BE49-F238E27FC236}">
                  <a16:creationId xmlns:a16="http://schemas.microsoft.com/office/drawing/2014/main" id="{9AF30111-3E10-7042-A95B-DE0650738863}"/>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0" name="Rectangle 39">
              <a:extLst>
                <a:ext uri="{FF2B5EF4-FFF2-40B4-BE49-F238E27FC236}">
                  <a16:creationId xmlns:a16="http://schemas.microsoft.com/office/drawing/2014/main" id="{8A45C78D-1E64-074B-81EF-C58469EE3829}"/>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1" name="Rectangle 40">
              <a:extLst>
                <a:ext uri="{FF2B5EF4-FFF2-40B4-BE49-F238E27FC236}">
                  <a16:creationId xmlns:a16="http://schemas.microsoft.com/office/drawing/2014/main" id="{C1519853-7B7F-9849-B1FC-62DB5EAA1E01}"/>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3" name="Rectangle 42">
              <a:extLst>
                <a:ext uri="{FF2B5EF4-FFF2-40B4-BE49-F238E27FC236}">
                  <a16:creationId xmlns:a16="http://schemas.microsoft.com/office/drawing/2014/main" id="{DC35F506-6C6B-7245-A802-E9F828597016}"/>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4" name="Rectangle 43">
              <a:extLst>
                <a:ext uri="{FF2B5EF4-FFF2-40B4-BE49-F238E27FC236}">
                  <a16:creationId xmlns:a16="http://schemas.microsoft.com/office/drawing/2014/main" id="{F6C2FC93-C623-504E-A642-D06693E9C949}"/>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pic>
        <p:nvPicPr>
          <p:cNvPr id="42" name="Picture 2" descr="See the source image">
            <a:extLst>
              <a:ext uri="{FF2B5EF4-FFF2-40B4-BE49-F238E27FC236}">
                <a16:creationId xmlns:a16="http://schemas.microsoft.com/office/drawing/2014/main" id="{D7F7F46B-E38C-F02A-9E43-E843560E780A}"/>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837335" y="224973"/>
            <a:ext cx="1216845" cy="298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6524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v2">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F1AE7D9A-3FB7-E44F-84ED-F5B2F02F8758}"/>
              </a:ext>
            </a:extLst>
          </p:cNvPr>
          <p:cNvPicPr>
            <a:picLocks noChangeAspect="1"/>
          </p:cNvPicPr>
          <p:nvPr userDrawn="1"/>
        </p:nvPicPr>
        <p:blipFill>
          <a:blip r:embed="rId2"/>
          <a:srcRect/>
          <a:stretch/>
        </p:blipFill>
        <p:spPr>
          <a:xfrm>
            <a:off x="4069909" y="2312062"/>
            <a:ext cx="4096657" cy="3811171"/>
          </a:xfrm>
          <a:prstGeom prst="rect">
            <a:avLst/>
          </a:prstGeom>
        </p:spPr>
      </p:pic>
      <p:pic>
        <p:nvPicPr>
          <p:cNvPr id="42" name="Picture 41">
            <a:extLst>
              <a:ext uri="{FF2B5EF4-FFF2-40B4-BE49-F238E27FC236}">
                <a16:creationId xmlns:a16="http://schemas.microsoft.com/office/drawing/2014/main" id="{0A2833C6-A236-D54B-A23C-295BD0DDBBDE}"/>
              </a:ext>
            </a:extLst>
          </p:cNvPr>
          <p:cNvPicPr>
            <a:picLocks/>
          </p:cNvPicPr>
          <p:nvPr userDrawn="1"/>
        </p:nvPicPr>
        <p:blipFill rotWithShape="1">
          <a:blip r:embed="rId3"/>
          <a:srcRect r="1045" b="1045"/>
          <a:stretch/>
        </p:blipFill>
        <p:spPr>
          <a:xfrm>
            <a:off x="573" y="2311182"/>
            <a:ext cx="4070980" cy="3813013"/>
          </a:xfrm>
          <a:prstGeom prst="rect">
            <a:avLst/>
          </a:prstGeom>
        </p:spPr>
      </p:pic>
      <p:sp>
        <p:nvSpPr>
          <p:cNvPr id="2" name="Title 1"/>
          <p:cNvSpPr>
            <a:spLocks noGrp="1"/>
          </p:cNvSpPr>
          <p:nvPr userDrawn="1">
            <p:ph type="ctrTitle" hasCustomPrompt="1"/>
          </p:nvPr>
        </p:nvSpPr>
        <p:spPr>
          <a:xfrm>
            <a:off x="817536" y="1299831"/>
            <a:ext cx="8534400" cy="413508"/>
          </a:xfrm>
        </p:spPr>
        <p:txBody>
          <a:bodyPr anchor="b" anchorCtr="0">
            <a:noAutofit/>
          </a:bodyPr>
          <a:lstStyle>
            <a:lvl1pPr algn="l">
              <a:lnSpc>
                <a:spcPct val="100000"/>
              </a:lnSpc>
              <a:defRPr sz="2931" b="0" i="0" cap="none"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userDrawn="1">
            <p:ph type="subTitle" idx="1" hasCustomPrompt="1"/>
          </p:nvPr>
        </p:nvSpPr>
        <p:spPr>
          <a:xfrm>
            <a:off x="817536" y="1774989"/>
            <a:ext cx="8534400" cy="268487"/>
          </a:xfrm>
        </p:spPr>
        <p:txBody>
          <a:bodyPr vert="horz" lIns="0" tIns="0" rIns="0" bIns="0" rtlCol="0" anchor="t" anchorCtr="0">
            <a:noAutofit/>
          </a:bodyPr>
          <a:lstStyle>
            <a:lvl1pPr>
              <a:defRPr lang="en-US" sz="1599" b="0" cap="none" dirty="0">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9" name="Text Placeholder 8">
            <a:extLst>
              <a:ext uri="{FF2B5EF4-FFF2-40B4-BE49-F238E27FC236}">
                <a16:creationId xmlns:a16="http://schemas.microsoft.com/office/drawing/2014/main" id="{ED85305D-8883-F94A-9EFE-760EAB55F955}"/>
              </a:ext>
            </a:extLst>
          </p:cNvPr>
          <p:cNvSpPr>
            <a:spLocks noGrp="1"/>
          </p:cNvSpPr>
          <p:nvPr userDrawn="1">
            <p:ph type="body" sz="quarter" idx="10"/>
          </p:nvPr>
        </p:nvSpPr>
        <p:spPr>
          <a:xfrm>
            <a:off x="298681"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15" name="Text Placeholder 8">
            <a:extLst>
              <a:ext uri="{FF2B5EF4-FFF2-40B4-BE49-F238E27FC236}">
                <a16:creationId xmlns:a16="http://schemas.microsoft.com/office/drawing/2014/main" id="{9A813B4F-AB62-5242-8CFF-D427F3C18880}"/>
              </a:ext>
            </a:extLst>
          </p:cNvPr>
          <p:cNvSpPr>
            <a:spLocks noGrp="1"/>
          </p:cNvSpPr>
          <p:nvPr userDrawn="1">
            <p:ph type="body" sz="quarter" idx="11"/>
          </p:nvPr>
        </p:nvSpPr>
        <p:spPr>
          <a:xfrm>
            <a:off x="298681"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12" name="TextBox 11">
            <a:extLst>
              <a:ext uri="{FF2B5EF4-FFF2-40B4-BE49-F238E27FC236}">
                <a16:creationId xmlns:a16="http://schemas.microsoft.com/office/drawing/2014/main" id="{680964C1-B0A1-414E-B14A-8EE0229717C0}"/>
              </a:ext>
            </a:extLst>
          </p:cNvPr>
          <p:cNvSpPr txBox="1"/>
          <p:nvPr userDrawn="1"/>
        </p:nvSpPr>
        <p:spPr>
          <a:xfrm>
            <a:off x="760242" y="6434855"/>
            <a:ext cx="6219218" cy="215315"/>
          </a:xfrm>
          <a:prstGeom prst="rect">
            <a:avLst/>
          </a:prstGeom>
          <a:noFill/>
          <a:ln w="12700">
            <a:noFill/>
          </a:ln>
        </p:spPr>
        <p:txBody>
          <a:bodyPr wrap="none" lIns="60904" rIns="60904" rtlCol="0">
            <a:spAutoFit/>
          </a:bodyPr>
          <a:lstStyle/>
          <a:p>
            <a:pPr algn="l"/>
            <a:r>
              <a:rPr lang="en-US" sz="799"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6" name="Text Placeholder 8">
            <a:extLst>
              <a:ext uri="{FF2B5EF4-FFF2-40B4-BE49-F238E27FC236}">
                <a16:creationId xmlns:a16="http://schemas.microsoft.com/office/drawing/2014/main" id="{3B55556C-2E6B-C541-A6F6-499BD9AC006C}"/>
              </a:ext>
            </a:extLst>
          </p:cNvPr>
          <p:cNvSpPr>
            <a:spLocks noGrp="1"/>
          </p:cNvSpPr>
          <p:nvPr userDrawn="1">
            <p:ph type="body" sz="quarter" idx="12"/>
          </p:nvPr>
        </p:nvSpPr>
        <p:spPr>
          <a:xfrm>
            <a:off x="298681"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27" name="Text Placeholder 8">
            <a:extLst>
              <a:ext uri="{FF2B5EF4-FFF2-40B4-BE49-F238E27FC236}">
                <a16:creationId xmlns:a16="http://schemas.microsoft.com/office/drawing/2014/main" id="{2FDD1235-9320-374F-8BC5-DC02FB8C8B44}"/>
              </a:ext>
            </a:extLst>
          </p:cNvPr>
          <p:cNvSpPr>
            <a:spLocks noGrp="1"/>
          </p:cNvSpPr>
          <p:nvPr userDrawn="1">
            <p:ph type="body" sz="quarter" idx="13"/>
          </p:nvPr>
        </p:nvSpPr>
        <p:spPr>
          <a:xfrm>
            <a:off x="298681"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29" name="Text Placeholder 8">
            <a:extLst>
              <a:ext uri="{FF2B5EF4-FFF2-40B4-BE49-F238E27FC236}">
                <a16:creationId xmlns:a16="http://schemas.microsoft.com/office/drawing/2014/main" id="{99D4F6A8-9014-4B40-ADEA-23A65D216D56}"/>
              </a:ext>
            </a:extLst>
          </p:cNvPr>
          <p:cNvSpPr>
            <a:spLocks noGrp="1"/>
          </p:cNvSpPr>
          <p:nvPr userDrawn="1">
            <p:ph type="body" sz="quarter" idx="14"/>
          </p:nvPr>
        </p:nvSpPr>
        <p:spPr>
          <a:xfrm>
            <a:off x="4424949"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1" name="Text Placeholder 8">
            <a:extLst>
              <a:ext uri="{FF2B5EF4-FFF2-40B4-BE49-F238E27FC236}">
                <a16:creationId xmlns:a16="http://schemas.microsoft.com/office/drawing/2014/main" id="{F7794BCC-2EF4-C946-B0F5-9EE2AE5C5C6F}"/>
              </a:ext>
            </a:extLst>
          </p:cNvPr>
          <p:cNvSpPr>
            <a:spLocks noGrp="1"/>
          </p:cNvSpPr>
          <p:nvPr userDrawn="1">
            <p:ph type="body" sz="quarter" idx="15"/>
          </p:nvPr>
        </p:nvSpPr>
        <p:spPr>
          <a:xfrm>
            <a:off x="4424949"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2" name="Text Placeholder 8">
            <a:extLst>
              <a:ext uri="{FF2B5EF4-FFF2-40B4-BE49-F238E27FC236}">
                <a16:creationId xmlns:a16="http://schemas.microsoft.com/office/drawing/2014/main" id="{AA0AD5E0-C0F4-9F47-96D2-BF610E17AF52}"/>
              </a:ext>
            </a:extLst>
          </p:cNvPr>
          <p:cNvSpPr>
            <a:spLocks noGrp="1"/>
          </p:cNvSpPr>
          <p:nvPr userDrawn="1">
            <p:ph type="body" sz="quarter" idx="16"/>
          </p:nvPr>
        </p:nvSpPr>
        <p:spPr>
          <a:xfrm>
            <a:off x="4424949"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3" name="Text Placeholder 8">
            <a:extLst>
              <a:ext uri="{FF2B5EF4-FFF2-40B4-BE49-F238E27FC236}">
                <a16:creationId xmlns:a16="http://schemas.microsoft.com/office/drawing/2014/main" id="{669EF2F6-B76C-9D4C-8659-19A5C8A70CB0}"/>
              </a:ext>
            </a:extLst>
          </p:cNvPr>
          <p:cNvSpPr>
            <a:spLocks noGrp="1"/>
          </p:cNvSpPr>
          <p:nvPr userDrawn="1">
            <p:ph type="body" sz="quarter" idx="17"/>
          </p:nvPr>
        </p:nvSpPr>
        <p:spPr>
          <a:xfrm>
            <a:off x="4424949"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pic>
        <p:nvPicPr>
          <p:cNvPr id="38" name="Picture 37">
            <a:extLst>
              <a:ext uri="{FF2B5EF4-FFF2-40B4-BE49-F238E27FC236}">
                <a16:creationId xmlns:a16="http://schemas.microsoft.com/office/drawing/2014/main" id="{37537A87-7F81-2349-8163-B9D6C84811B6}"/>
              </a:ext>
            </a:extLst>
          </p:cNvPr>
          <p:cNvPicPr>
            <a:picLocks noChangeAspect="1"/>
          </p:cNvPicPr>
          <p:nvPr userDrawn="1"/>
        </p:nvPicPr>
        <p:blipFill rotWithShape="1">
          <a:blip r:embed="rId4"/>
          <a:srcRect r="926"/>
          <a:stretch/>
        </p:blipFill>
        <p:spPr>
          <a:xfrm>
            <a:off x="8136692" y="2310218"/>
            <a:ext cx="4054736" cy="3813014"/>
          </a:xfrm>
          <a:prstGeom prst="rect">
            <a:avLst/>
          </a:prstGeom>
        </p:spPr>
      </p:pic>
      <p:sp>
        <p:nvSpPr>
          <p:cNvPr id="34" name="Text Placeholder 8">
            <a:extLst>
              <a:ext uri="{FF2B5EF4-FFF2-40B4-BE49-F238E27FC236}">
                <a16:creationId xmlns:a16="http://schemas.microsoft.com/office/drawing/2014/main" id="{270CCFC5-E2A1-3141-BA7E-623F7D07EF3A}"/>
              </a:ext>
            </a:extLst>
          </p:cNvPr>
          <p:cNvSpPr>
            <a:spLocks noGrp="1"/>
          </p:cNvSpPr>
          <p:nvPr userDrawn="1">
            <p:ph type="body" sz="quarter" idx="18"/>
          </p:nvPr>
        </p:nvSpPr>
        <p:spPr>
          <a:xfrm>
            <a:off x="8480928"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5" name="Text Placeholder 8">
            <a:extLst>
              <a:ext uri="{FF2B5EF4-FFF2-40B4-BE49-F238E27FC236}">
                <a16:creationId xmlns:a16="http://schemas.microsoft.com/office/drawing/2014/main" id="{893F325A-70E0-334D-BE0C-09F59EE55EC2}"/>
              </a:ext>
            </a:extLst>
          </p:cNvPr>
          <p:cNvSpPr>
            <a:spLocks noGrp="1"/>
          </p:cNvSpPr>
          <p:nvPr userDrawn="1">
            <p:ph type="body" sz="quarter" idx="19"/>
          </p:nvPr>
        </p:nvSpPr>
        <p:spPr>
          <a:xfrm>
            <a:off x="8480928"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6" name="Text Placeholder 8">
            <a:extLst>
              <a:ext uri="{FF2B5EF4-FFF2-40B4-BE49-F238E27FC236}">
                <a16:creationId xmlns:a16="http://schemas.microsoft.com/office/drawing/2014/main" id="{B336266E-E946-0F48-B6FA-E90BEDD030FB}"/>
              </a:ext>
            </a:extLst>
          </p:cNvPr>
          <p:cNvSpPr>
            <a:spLocks noGrp="1"/>
          </p:cNvSpPr>
          <p:nvPr userDrawn="1">
            <p:ph type="body" sz="quarter" idx="20"/>
          </p:nvPr>
        </p:nvSpPr>
        <p:spPr>
          <a:xfrm>
            <a:off x="8480928"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7" name="Text Placeholder 8">
            <a:extLst>
              <a:ext uri="{FF2B5EF4-FFF2-40B4-BE49-F238E27FC236}">
                <a16:creationId xmlns:a16="http://schemas.microsoft.com/office/drawing/2014/main" id="{FD7AF74D-9E7A-BF4A-AEBF-F8354F694424}"/>
              </a:ext>
            </a:extLst>
          </p:cNvPr>
          <p:cNvSpPr>
            <a:spLocks noGrp="1"/>
          </p:cNvSpPr>
          <p:nvPr userDrawn="1">
            <p:ph type="body" sz="quarter" idx="21"/>
          </p:nvPr>
        </p:nvSpPr>
        <p:spPr>
          <a:xfrm>
            <a:off x="8480928"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pic>
        <p:nvPicPr>
          <p:cNvPr id="47" name="Picture 2" descr="See the source image">
            <a:extLst>
              <a:ext uri="{FF2B5EF4-FFF2-40B4-BE49-F238E27FC236}">
                <a16:creationId xmlns:a16="http://schemas.microsoft.com/office/drawing/2014/main" id="{3797AFE7-8DE8-0241-1DDA-006CA6BD594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837335" y="224973"/>
            <a:ext cx="1216845" cy="298983"/>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a:extLst>
              <a:ext uri="{FF2B5EF4-FFF2-40B4-BE49-F238E27FC236}">
                <a16:creationId xmlns:a16="http://schemas.microsoft.com/office/drawing/2014/main" id="{7CDF7012-D4A9-AF52-09A2-1C4A9830C59B}"/>
              </a:ext>
            </a:extLst>
          </p:cNvPr>
          <p:cNvGrpSpPr/>
          <p:nvPr userDrawn="1"/>
        </p:nvGrpSpPr>
        <p:grpSpPr>
          <a:xfrm>
            <a:off x="-5" y="6764982"/>
            <a:ext cx="12192004" cy="91440"/>
            <a:chOff x="-4" y="5045891"/>
            <a:chExt cx="9144003" cy="102377"/>
          </a:xfrm>
        </p:grpSpPr>
        <p:sp>
          <p:nvSpPr>
            <p:cNvPr id="49" name="Rectangle 48">
              <a:extLst>
                <a:ext uri="{FF2B5EF4-FFF2-40B4-BE49-F238E27FC236}">
                  <a16:creationId xmlns:a16="http://schemas.microsoft.com/office/drawing/2014/main" id="{E55F462F-9C5F-C7C8-A873-2AFB8661C03C}"/>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50" name="Rectangle 49">
              <a:extLst>
                <a:ext uri="{FF2B5EF4-FFF2-40B4-BE49-F238E27FC236}">
                  <a16:creationId xmlns:a16="http://schemas.microsoft.com/office/drawing/2014/main" id="{591F74EB-19D4-7ED7-FDC7-38AC76515434}"/>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51" name="Rectangle 50">
              <a:extLst>
                <a:ext uri="{FF2B5EF4-FFF2-40B4-BE49-F238E27FC236}">
                  <a16:creationId xmlns:a16="http://schemas.microsoft.com/office/drawing/2014/main" id="{3BF3D076-31AD-E060-F4EB-4D291EEC32CD}"/>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52" name="Rectangle 51">
              <a:extLst>
                <a:ext uri="{FF2B5EF4-FFF2-40B4-BE49-F238E27FC236}">
                  <a16:creationId xmlns:a16="http://schemas.microsoft.com/office/drawing/2014/main" id="{97EF7DCB-E075-A9F8-AF33-DEDC25E786A4}"/>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53" name="Rectangle 52">
              <a:extLst>
                <a:ext uri="{FF2B5EF4-FFF2-40B4-BE49-F238E27FC236}">
                  <a16:creationId xmlns:a16="http://schemas.microsoft.com/office/drawing/2014/main" id="{6070B750-47D1-2E18-C704-398E1D00060D}"/>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269633161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v3">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AED26863-B7DC-BC41-9F62-90B2E8508D31}"/>
              </a:ext>
            </a:extLst>
          </p:cNvPr>
          <p:cNvPicPr>
            <a:picLocks noChangeAspect="1"/>
          </p:cNvPicPr>
          <p:nvPr userDrawn="1"/>
        </p:nvPicPr>
        <p:blipFill>
          <a:blip r:embed="rId2"/>
          <a:srcRect/>
          <a:stretch/>
        </p:blipFill>
        <p:spPr>
          <a:xfrm>
            <a:off x="4069909" y="2312062"/>
            <a:ext cx="4096657" cy="3811171"/>
          </a:xfrm>
          <a:prstGeom prst="rect">
            <a:avLst/>
          </a:prstGeom>
        </p:spPr>
      </p:pic>
      <p:pic>
        <p:nvPicPr>
          <p:cNvPr id="47" name="Picture 46">
            <a:extLst>
              <a:ext uri="{FF2B5EF4-FFF2-40B4-BE49-F238E27FC236}">
                <a16:creationId xmlns:a16="http://schemas.microsoft.com/office/drawing/2014/main" id="{582D3D25-E6B4-5944-9C12-DDBA0498CC33}"/>
              </a:ext>
            </a:extLst>
          </p:cNvPr>
          <p:cNvPicPr>
            <a:picLocks/>
          </p:cNvPicPr>
          <p:nvPr userDrawn="1"/>
        </p:nvPicPr>
        <p:blipFill>
          <a:blip r:embed="rId3"/>
          <a:srcRect/>
          <a:stretch/>
        </p:blipFill>
        <p:spPr>
          <a:xfrm>
            <a:off x="675" y="2311182"/>
            <a:ext cx="4070776" cy="3813013"/>
          </a:xfrm>
          <a:prstGeom prst="rect">
            <a:avLst/>
          </a:prstGeom>
        </p:spPr>
      </p:pic>
      <p:sp>
        <p:nvSpPr>
          <p:cNvPr id="27" name="Text Placeholder 8">
            <a:extLst>
              <a:ext uri="{FF2B5EF4-FFF2-40B4-BE49-F238E27FC236}">
                <a16:creationId xmlns:a16="http://schemas.microsoft.com/office/drawing/2014/main" id="{2FDD1235-9320-374F-8BC5-DC02FB8C8B44}"/>
              </a:ext>
            </a:extLst>
          </p:cNvPr>
          <p:cNvSpPr>
            <a:spLocks noGrp="1"/>
          </p:cNvSpPr>
          <p:nvPr userDrawn="1">
            <p:ph type="body" sz="quarter" idx="13"/>
          </p:nvPr>
        </p:nvSpPr>
        <p:spPr>
          <a:xfrm>
            <a:off x="298681"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5" name="Text Placeholder 8">
            <a:extLst>
              <a:ext uri="{FF2B5EF4-FFF2-40B4-BE49-F238E27FC236}">
                <a16:creationId xmlns:a16="http://schemas.microsoft.com/office/drawing/2014/main" id="{0272F47E-6954-4C9E-86F2-448476A9D4C4}"/>
              </a:ext>
            </a:extLst>
          </p:cNvPr>
          <p:cNvSpPr>
            <a:spLocks noGrp="1"/>
          </p:cNvSpPr>
          <p:nvPr>
            <p:ph type="body" sz="quarter" idx="14"/>
          </p:nvPr>
        </p:nvSpPr>
        <p:spPr>
          <a:xfrm>
            <a:off x="4424949"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6" name="Text Placeholder 8">
            <a:extLst>
              <a:ext uri="{FF2B5EF4-FFF2-40B4-BE49-F238E27FC236}">
                <a16:creationId xmlns:a16="http://schemas.microsoft.com/office/drawing/2014/main" id="{83D53722-C896-4F97-BCB8-880A0FD00C7E}"/>
              </a:ext>
            </a:extLst>
          </p:cNvPr>
          <p:cNvSpPr>
            <a:spLocks noGrp="1"/>
          </p:cNvSpPr>
          <p:nvPr>
            <p:ph type="body" sz="quarter" idx="15"/>
          </p:nvPr>
        </p:nvSpPr>
        <p:spPr>
          <a:xfrm>
            <a:off x="4424949"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7" name="Text Placeholder 8">
            <a:extLst>
              <a:ext uri="{FF2B5EF4-FFF2-40B4-BE49-F238E27FC236}">
                <a16:creationId xmlns:a16="http://schemas.microsoft.com/office/drawing/2014/main" id="{CAB11CA0-2564-4395-896D-AE05167FFE98}"/>
              </a:ext>
            </a:extLst>
          </p:cNvPr>
          <p:cNvSpPr>
            <a:spLocks noGrp="1"/>
          </p:cNvSpPr>
          <p:nvPr>
            <p:ph type="body" sz="quarter" idx="16"/>
          </p:nvPr>
        </p:nvSpPr>
        <p:spPr>
          <a:xfrm>
            <a:off x="4424949"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0" name="Text Placeholder 8">
            <a:extLst>
              <a:ext uri="{FF2B5EF4-FFF2-40B4-BE49-F238E27FC236}">
                <a16:creationId xmlns:a16="http://schemas.microsoft.com/office/drawing/2014/main" id="{3BAB368B-353D-441C-91F3-3030D40EC02C}"/>
              </a:ext>
            </a:extLst>
          </p:cNvPr>
          <p:cNvSpPr>
            <a:spLocks noGrp="1"/>
          </p:cNvSpPr>
          <p:nvPr>
            <p:ph type="body" sz="quarter" idx="17"/>
          </p:nvPr>
        </p:nvSpPr>
        <p:spPr>
          <a:xfrm>
            <a:off x="4424949"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2" name="Title 1"/>
          <p:cNvSpPr>
            <a:spLocks noGrp="1"/>
          </p:cNvSpPr>
          <p:nvPr userDrawn="1">
            <p:ph type="ctrTitle" hasCustomPrompt="1"/>
          </p:nvPr>
        </p:nvSpPr>
        <p:spPr>
          <a:xfrm>
            <a:off x="817536" y="1299831"/>
            <a:ext cx="8534400" cy="413508"/>
          </a:xfrm>
        </p:spPr>
        <p:txBody>
          <a:bodyPr anchor="b" anchorCtr="0">
            <a:noAutofit/>
          </a:bodyPr>
          <a:lstStyle>
            <a:lvl1pPr algn="l">
              <a:lnSpc>
                <a:spcPct val="100000"/>
              </a:lnSpc>
              <a:defRPr sz="2931" b="0" i="0" cap="none"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userDrawn="1">
            <p:ph type="subTitle" idx="1" hasCustomPrompt="1"/>
          </p:nvPr>
        </p:nvSpPr>
        <p:spPr>
          <a:xfrm>
            <a:off x="817536" y="1774989"/>
            <a:ext cx="8534400" cy="268487"/>
          </a:xfrm>
        </p:spPr>
        <p:txBody>
          <a:bodyPr vert="horz" lIns="0" tIns="0" rIns="0" bIns="0" rtlCol="0" anchor="t" anchorCtr="0">
            <a:noAutofit/>
          </a:bodyPr>
          <a:lstStyle>
            <a:lvl1pPr>
              <a:defRPr lang="en-US" sz="1599" b="0" cap="none" dirty="0">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12" name="TextBox 11">
            <a:extLst>
              <a:ext uri="{FF2B5EF4-FFF2-40B4-BE49-F238E27FC236}">
                <a16:creationId xmlns:a16="http://schemas.microsoft.com/office/drawing/2014/main" id="{680964C1-B0A1-414E-B14A-8EE0229717C0}"/>
              </a:ext>
            </a:extLst>
          </p:cNvPr>
          <p:cNvSpPr txBox="1"/>
          <p:nvPr userDrawn="1"/>
        </p:nvSpPr>
        <p:spPr>
          <a:xfrm>
            <a:off x="760242" y="6434855"/>
            <a:ext cx="6219218" cy="215315"/>
          </a:xfrm>
          <a:prstGeom prst="rect">
            <a:avLst/>
          </a:prstGeom>
          <a:noFill/>
          <a:ln w="12700">
            <a:noFill/>
          </a:ln>
        </p:spPr>
        <p:txBody>
          <a:bodyPr wrap="none" lIns="60904" rIns="60904" rtlCol="0">
            <a:spAutoFit/>
          </a:bodyPr>
          <a:lstStyle/>
          <a:p>
            <a:pPr algn="l"/>
            <a:r>
              <a:rPr lang="en-US" sz="799"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pic>
        <p:nvPicPr>
          <p:cNvPr id="25" name="Picture 24">
            <a:extLst>
              <a:ext uri="{FF2B5EF4-FFF2-40B4-BE49-F238E27FC236}">
                <a16:creationId xmlns:a16="http://schemas.microsoft.com/office/drawing/2014/main" id="{54EFD79B-0A91-FB48-9D30-A906B7C84AA8}"/>
              </a:ext>
            </a:extLst>
          </p:cNvPr>
          <p:cNvPicPr>
            <a:picLocks noChangeAspect="1"/>
          </p:cNvPicPr>
          <p:nvPr userDrawn="1"/>
        </p:nvPicPr>
        <p:blipFill rotWithShape="1">
          <a:blip r:embed="rId4"/>
          <a:srcRect r="926"/>
          <a:stretch/>
        </p:blipFill>
        <p:spPr>
          <a:xfrm>
            <a:off x="8136692" y="2310218"/>
            <a:ext cx="4054736" cy="3813014"/>
          </a:xfrm>
          <a:prstGeom prst="rect">
            <a:avLst/>
          </a:prstGeom>
        </p:spPr>
      </p:pic>
      <p:sp>
        <p:nvSpPr>
          <p:cNvPr id="43" name="Text Placeholder 8">
            <a:extLst>
              <a:ext uri="{FF2B5EF4-FFF2-40B4-BE49-F238E27FC236}">
                <a16:creationId xmlns:a16="http://schemas.microsoft.com/office/drawing/2014/main" id="{E827D3F1-B205-FA4E-9A79-5D1C00B13B4C}"/>
              </a:ext>
            </a:extLst>
          </p:cNvPr>
          <p:cNvSpPr>
            <a:spLocks noGrp="1"/>
          </p:cNvSpPr>
          <p:nvPr>
            <p:ph type="body" sz="quarter" idx="18"/>
          </p:nvPr>
        </p:nvSpPr>
        <p:spPr>
          <a:xfrm>
            <a:off x="8480928"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4" name="Text Placeholder 8">
            <a:extLst>
              <a:ext uri="{FF2B5EF4-FFF2-40B4-BE49-F238E27FC236}">
                <a16:creationId xmlns:a16="http://schemas.microsoft.com/office/drawing/2014/main" id="{B789CD8C-4442-284A-B342-15E24DD3F6A7}"/>
              </a:ext>
            </a:extLst>
          </p:cNvPr>
          <p:cNvSpPr>
            <a:spLocks noGrp="1"/>
          </p:cNvSpPr>
          <p:nvPr>
            <p:ph type="body" sz="quarter" idx="19"/>
          </p:nvPr>
        </p:nvSpPr>
        <p:spPr>
          <a:xfrm>
            <a:off x="8480928"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5" name="Text Placeholder 8">
            <a:extLst>
              <a:ext uri="{FF2B5EF4-FFF2-40B4-BE49-F238E27FC236}">
                <a16:creationId xmlns:a16="http://schemas.microsoft.com/office/drawing/2014/main" id="{6098D268-9E54-4647-8358-251BC9585D96}"/>
              </a:ext>
            </a:extLst>
          </p:cNvPr>
          <p:cNvSpPr>
            <a:spLocks noGrp="1"/>
          </p:cNvSpPr>
          <p:nvPr>
            <p:ph type="body" sz="quarter" idx="20"/>
          </p:nvPr>
        </p:nvSpPr>
        <p:spPr>
          <a:xfrm>
            <a:off x="8480928"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6" name="Text Placeholder 8">
            <a:extLst>
              <a:ext uri="{FF2B5EF4-FFF2-40B4-BE49-F238E27FC236}">
                <a16:creationId xmlns:a16="http://schemas.microsoft.com/office/drawing/2014/main" id="{8698FACE-F39F-C143-A14B-69758065E121}"/>
              </a:ext>
            </a:extLst>
          </p:cNvPr>
          <p:cNvSpPr>
            <a:spLocks noGrp="1"/>
          </p:cNvSpPr>
          <p:nvPr>
            <p:ph type="body" sz="quarter" idx="21"/>
          </p:nvPr>
        </p:nvSpPr>
        <p:spPr>
          <a:xfrm>
            <a:off x="8480928"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pic>
        <p:nvPicPr>
          <p:cNvPr id="38" name="Picture 2" descr="See the source image">
            <a:extLst>
              <a:ext uri="{FF2B5EF4-FFF2-40B4-BE49-F238E27FC236}">
                <a16:creationId xmlns:a16="http://schemas.microsoft.com/office/drawing/2014/main" id="{A5FEF811-6B5B-547E-318A-088349065A6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837335" y="224973"/>
            <a:ext cx="1216845" cy="298983"/>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38">
            <a:extLst>
              <a:ext uri="{FF2B5EF4-FFF2-40B4-BE49-F238E27FC236}">
                <a16:creationId xmlns:a16="http://schemas.microsoft.com/office/drawing/2014/main" id="{CD99ED50-1D26-08CF-1D03-D8FE1AEC4076}"/>
              </a:ext>
            </a:extLst>
          </p:cNvPr>
          <p:cNvGrpSpPr/>
          <p:nvPr userDrawn="1"/>
        </p:nvGrpSpPr>
        <p:grpSpPr>
          <a:xfrm>
            <a:off x="-5" y="6764982"/>
            <a:ext cx="12192004" cy="91440"/>
            <a:chOff x="-4" y="5045891"/>
            <a:chExt cx="9144003" cy="102377"/>
          </a:xfrm>
        </p:grpSpPr>
        <p:sp>
          <p:nvSpPr>
            <p:cNvPr id="41" name="Rectangle 40">
              <a:extLst>
                <a:ext uri="{FF2B5EF4-FFF2-40B4-BE49-F238E27FC236}">
                  <a16:creationId xmlns:a16="http://schemas.microsoft.com/office/drawing/2014/main" id="{64DA034E-1A71-AED4-8EEA-D5A2FB19E2AC}"/>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2" name="Rectangle 41">
              <a:extLst>
                <a:ext uri="{FF2B5EF4-FFF2-40B4-BE49-F238E27FC236}">
                  <a16:creationId xmlns:a16="http://schemas.microsoft.com/office/drawing/2014/main" id="{6DA60E0E-CC57-C68D-8071-E4A8AE1DD56B}"/>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8" name="Rectangle 47">
              <a:extLst>
                <a:ext uri="{FF2B5EF4-FFF2-40B4-BE49-F238E27FC236}">
                  <a16:creationId xmlns:a16="http://schemas.microsoft.com/office/drawing/2014/main" id="{6AA020F3-4B25-0BF5-28A5-683291A46746}"/>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9" name="Rectangle 48">
              <a:extLst>
                <a:ext uri="{FF2B5EF4-FFF2-40B4-BE49-F238E27FC236}">
                  <a16:creationId xmlns:a16="http://schemas.microsoft.com/office/drawing/2014/main" id="{7482042A-EDBE-B6DD-45C9-BDC117EB25FC}"/>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50" name="Rectangle 49">
              <a:extLst>
                <a:ext uri="{FF2B5EF4-FFF2-40B4-BE49-F238E27FC236}">
                  <a16:creationId xmlns:a16="http://schemas.microsoft.com/office/drawing/2014/main" id="{5B26A0D5-CEF9-A46B-55D1-2FB3361DCE08}"/>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129879851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v4">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CC43FA5B-E468-0C4E-A3D1-965E2B5BBA8D}"/>
              </a:ext>
            </a:extLst>
          </p:cNvPr>
          <p:cNvPicPr>
            <a:picLocks noChangeAspect="1"/>
          </p:cNvPicPr>
          <p:nvPr userDrawn="1"/>
        </p:nvPicPr>
        <p:blipFill>
          <a:blip r:embed="rId2"/>
          <a:srcRect/>
          <a:stretch/>
        </p:blipFill>
        <p:spPr>
          <a:xfrm>
            <a:off x="4069909" y="2312062"/>
            <a:ext cx="4096657" cy="3811171"/>
          </a:xfrm>
          <a:prstGeom prst="rect">
            <a:avLst/>
          </a:prstGeom>
        </p:spPr>
      </p:pic>
      <p:sp>
        <p:nvSpPr>
          <p:cNvPr id="2" name="Title 1"/>
          <p:cNvSpPr>
            <a:spLocks noGrp="1"/>
          </p:cNvSpPr>
          <p:nvPr userDrawn="1">
            <p:ph type="ctrTitle" hasCustomPrompt="1"/>
          </p:nvPr>
        </p:nvSpPr>
        <p:spPr>
          <a:xfrm>
            <a:off x="817536" y="1299831"/>
            <a:ext cx="8534400" cy="413508"/>
          </a:xfrm>
        </p:spPr>
        <p:txBody>
          <a:bodyPr anchor="b" anchorCtr="0">
            <a:noAutofit/>
          </a:bodyPr>
          <a:lstStyle>
            <a:lvl1pPr algn="l">
              <a:lnSpc>
                <a:spcPct val="100000"/>
              </a:lnSpc>
              <a:defRPr sz="2931" b="0" i="0" cap="none"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userDrawn="1">
            <p:ph type="subTitle" idx="1" hasCustomPrompt="1"/>
          </p:nvPr>
        </p:nvSpPr>
        <p:spPr>
          <a:xfrm>
            <a:off x="817536" y="1774989"/>
            <a:ext cx="8534400" cy="268487"/>
          </a:xfrm>
        </p:spPr>
        <p:txBody>
          <a:bodyPr vert="horz" lIns="0" tIns="0" rIns="0" bIns="0" rtlCol="0" anchor="t" anchorCtr="0">
            <a:noAutofit/>
          </a:bodyPr>
          <a:lstStyle>
            <a:lvl1pPr>
              <a:defRPr lang="en-US" sz="1599" b="0" cap="none" dirty="0">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12" name="TextBox 11">
            <a:extLst>
              <a:ext uri="{FF2B5EF4-FFF2-40B4-BE49-F238E27FC236}">
                <a16:creationId xmlns:a16="http://schemas.microsoft.com/office/drawing/2014/main" id="{680964C1-B0A1-414E-B14A-8EE0229717C0}"/>
              </a:ext>
            </a:extLst>
          </p:cNvPr>
          <p:cNvSpPr txBox="1"/>
          <p:nvPr userDrawn="1"/>
        </p:nvSpPr>
        <p:spPr>
          <a:xfrm>
            <a:off x="760242" y="6434855"/>
            <a:ext cx="6219218" cy="215315"/>
          </a:xfrm>
          <a:prstGeom prst="rect">
            <a:avLst/>
          </a:prstGeom>
          <a:noFill/>
          <a:ln w="12700">
            <a:noFill/>
          </a:ln>
        </p:spPr>
        <p:txBody>
          <a:bodyPr wrap="none" lIns="60904" rIns="60904" rtlCol="0">
            <a:spAutoFit/>
          </a:bodyPr>
          <a:lstStyle/>
          <a:p>
            <a:pPr algn="l"/>
            <a:r>
              <a:rPr lang="en-US" sz="799"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pic>
        <p:nvPicPr>
          <p:cNvPr id="25" name="Picture 24">
            <a:extLst>
              <a:ext uri="{FF2B5EF4-FFF2-40B4-BE49-F238E27FC236}">
                <a16:creationId xmlns:a16="http://schemas.microsoft.com/office/drawing/2014/main" id="{C85AA01F-D6B4-4BC8-887E-A384DEFA08C1}"/>
              </a:ext>
            </a:extLst>
          </p:cNvPr>
          <p:cNvPicPr>
            <a:picLocks/>
          </p:cNvPicPr>
          <p:nvPr userDrawn="1"/>
        </p:nvPicPr>
        <p:blipFill>
          <a:blip r:embed="rId3"/>
          <a:srcRect/>
          <a:stretch/>
        </p:blipFill>
        <p:spPr>
          <a:xfrm>
            <a:off x="675" y="2311182"/>
            <a:ext cx="4070776" cy="3813013"/>
          </a:xfrm>
          <a:prstGeom prst="rect">
            <a:avLst/>
          </a:prstGeom>
        </p:spPr>
      </p:pic>
      <p:sp>
        <p:nvSpPr>
          <p:cNvPr id="35" name="Text Placeholder 8">
            <a:extLst>
              <a:ext uri="{FF2B5EF4-FFF2-40B4-BE49-F238E27FC236}">
                <a16:creationId xmlns:a16="http://schemas.microsoft.com/office/drawing/2014/main" id="{585160DE-7023-4643-ACE7-2B20DDB7541C}"/>
              </a:ext>
            </a:extLst>
          </p:cNvPr>
          <p:cNvSpPr>
            <a:spLocks noGrp="1"/>
          </p:cNvSpPr>
          <p:nvPr>
            <p:ph type="body" sz="quarter" idx="13"/>
          </p:nvPr>
        </p:nvSpPr>
        <p:spPr>
          <a:xfrm>
            <a:off x="298681"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7" name="Text Placeholder 8">
            <a:extLst>
              <a:ext uri="{FF2B5EF4-FFF2-40B4-BE49-F238E27FC236}">
                <a16:creationId xmlns:a16="http://schemas.microsoft.com/office/drawing/2014/main" id="{93C34A3A-6719-4563-AA99-FC740CC1724D}"/>
              </a:ext>
            </a:extLst>
          </p:cNvPr>
          <p:cNvSpPr>
            <a:spLocks noGrp="1"/>
          </p:cNvSpPr>
          <p:nvPr>
            <p:ph type="body" sz="quarter" idx="14"/>
          </p:nvPr>
        </p:nvSpPr>
        <p:spPr>
          <a:xfrm>
            <a:off x="4424949"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0" name="Text Placeholder 8">
            <a:extLst>
              <a:ext uri="{FF2B5EF4-FFF2-40B4-BE49-F238E27FC236}">
                <a16:creationId xmlns:a16="http://schemas.microsoft.com/office/drawing/2014/main" id="{6961CC13-8B36-42A9-8AF2-EF8F32712EC2}"/>
              </a:ext>
            </a:extLst>
          </p:cNvPr>
          <p:cNvSpPr>
            <a:spLocks noGrp="1"/>
          </p:cNvSpPr>
          <p:nvPr>
            <p:ph type="body" sz="quarter" idx="15"/>
          </p:nvPr>
        </p:nvSpPr>
        <p:spPr>
          <a:xfrm>
            <a:off x="4424949"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8" name="Text Placeholder 8">
            <a:extLst>
              <a:ext uri="{FF2B5EF4-FFF2-40B4-BE49-F238E27FC236}">
                <a16:creationId xmlns:a16="http://schemas.microsoft.com/office/drawing/2014/main" id="{DE7AEDA7-18AA-4D29-BEF6-EC345B162ACA}"/>
              </a:ext>
            </a:extLst>
          </p:cNvPr>
          <p:cNvSpPr>
            <a:spLocks noGrp="1"/>
          </p:cNvSpPr>
          <p:nvPr>
            <p:ph type="body" sz="quarter" idx="16"/>
          </p:nvPr>
        </p:nvSpPr>
        <p:spPr>
          <a:xfrm>
            <a:off x="4424949"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9" name="Text Placeholder 8">
            <a:extLst>
              <a:ext uri="{FF2B5EF4-FFF2-40B4-BE49-F238E27FC236}">
                <a16:creationId xmlns:a16="http://schemas.microsoft.com/office/drawing/2014/main" id="{4FC46FCD-FEBB-45BF-ABD2-AB09CB71F70E}"/>
              </a:ext>
            </a:extLst>
          </p:cNvPr>
          <p:cNvSpPr>
            <a:spLocks noGrp="1"/>
          </p:cNvSpPr>
          <p:nvPr>
            <p:ph type="body" sz="quarter" idx="17"/>
          </p:nvPr>
        </p:nvSpPr>
        <p:spPr>
          <a:xfrm>
            <a:off x="4424949"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pic>
        <p:nvPicPr>
          <p:cNvPr id="28" name="Picture 27">
            <a:extLst>
              <a:ext uri="{FF2B5EF4-FFF2-40B4-BE49-F238E27FC236}">
                <a16:creationId xmlns:a16="http://schemas.microsoft.com/office/drawing/2014/main" id="{66AA3B30-FB4A-584C-A6D5-47EF0C92208F}"/>
              </a:ext>
            </a:extLst>
          </p:cNvPr>
          <p:cNvPicPr>
            <a:picLocks noChangeAspect="1"/>
          </p:cNvPicPr>
          <p:nvPr userDrawn="1"/>
        </p:nvPicPr>
        <p:blipFill rotWithShape="1">
          <a:blip r:embed="rId4"/>
          <a:srcRect r="926"/>
          <a:stretch/>
        </p:blipFill>
        <p:spPr>
          <a:xfrm>
            <a:off x="8136692" y="2310218"/>
            <a:ext cx="4054736" cy="3813014"/>
          </a:xfrm>
          <a:prstGeom prst="rect">
            <a:avLst/>
          </a:prstGeom>
        </p:spPr>
      </p:pic>
      <p:sp>
        <p:nvSpPr>
          <p:cNvPr id="51" name="Text Placeholder 8">
            <a:extLst>
              <a:ext uri="{FF2B5EF4-FFF2-40B4-BE49-F238E27FC236}">
                <a16:creationId xmlns:a16="http://schemas.microsoft.com/office/drawing/2014/main" id="{CCA9FFB5-9A23-4EF6-9513-00E5CAADD9C7}"/>
              </a:ext>
            </a:extLst>
          </p:cNvPr>
          <p:cNvSpPr>
            <a:spLocks noGrp="1"/>
          </p:cNvSpPr>
          <p:nvPr>
            <p:ph type="body" sz="quarter" idx="18"/>
          </p:nvPr>
        </p:nvSpPr>
        <p:spPr>
          <a:xfrm>
            <a:off x="8480928" y="5414459"/>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52" name="Text Placeholder 8">
            <a:extLst>
              <a:ext uri="{FF2B5EF4-FFF2-40B4-BE49-F238E27FC236}">
                <a16:creationId xmlns:a16="http://schemas.microsoft.com/office/drawing/2014/main" id="{BCC1B59C-B373-41A6-97E7-0E05D872C71F}"/>
              </a:ext>
            </a:extLst>
          </p:cNvPr>
          <p:cNvSpPr>
            <a:spLocks noGrp="1"/>
          </p:cNvSpPr>
          <p:nvPr>
            <p:ph type="body" sz="quarter" idx="19"/>
          </p:nvPr>
        </p:nvSpPr>
        <p:spPr>
          <a:xfrm>
            <a:off x="8480928" y="556068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53" name="Text Placeholder 8">
            <a:extLst>
              <a:ext uri="{FF2B5EF4-FFF2-40B4-BE49-F238E27FC236}">
                <a16:creationId xmlns:a16="http://schemas.microsoft.com/office/drawing/2014/main" id="{71D6929B-9513-4D09-B21A-9967369895AF}"/>
              </a:ext>
            </a:extLst>
          </p:cNvPr>
          <p:cNvSpPr>
            <a:spLocks noGrp="1"/>
          </p:cNvSpPr>
          <p:nvPr>
            <p:ph type="body" sz="quarter" idx="20"/>
          </p:nvPr>
        </p:nvSpPr>
        <p:spPr>
          <a:xfrm>
            <a:off x="8480928" y="5696669"/>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54" name="Text Placeholder 8">
            <a:extLst>
              <a:ext uri="{FF2B5EF4-FFF2-40B4-BE49-F238E27FC236}">
                <a16:creationId xmlns:a16="http://schemas.microsoft.com/office/drawing/2014/main" id="{9D309376-B894-4B47-8C00-989E910D153C}"/>
              </a:ext>
            </a:extLst>
          </p:cNvPr>
          <p:cNvSpPr>
            <a:spLocks noGrp="1"/>
          </p:cNvSpPr>
          <p:nvPr>
            <p:ph type="body" sz="quarter" idx="21"/>
          </p:nvPr>
        </p:nvSpPr>
        <p:spPr>
          <a:xfrm>
            <a:off x="8480928" y="5832650"/>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grpSp>
        <p:nvGrpSpPr>
          <p:cNvPr id="36" name="Group 35">
            <a:extLst>
              <a:ext uri="{FF2B5EF4-FFF2-40B4-BE49-F238E27FC236}">
                <a16:creationId xmlns:a16="http://schemas.microsoft.com/office/drawing/2014/main" id="{B9A39D45-264B-EA8F-0041-5E528B19070A}"/>
              </a:ext>
            </a:extLst>
          </p:cNvPr>
          <p:cNvGrpSpPr/>
          <p:nvPr userDrawn="1"/>
        </p:nvGrpSpPr>
        <p:grpSpPr>
          <a:xfrm>
            <a:off x="-5" y="6764982"/>
            <a:ext cx="12192004" cy="91440"/>
            <a:chOff x="-4" y="5045891"/>
            <a:chExt cx="9144003" cy="102377"/>
          </a:xfrm>
        </p:grpSpPr>
        <p:sp>
          <p:nvSpPr>
            <p:cNvPr id="38" name="Rectangle 37">
              <a:extLst>
                <a:ext uri="{FF2B5EF4-FFF2-40B4-BE49-F238E27FC236}">
                  <a16:creationId xmlns:a16="http://schemas.microsoft.com/office/drawing/2014/main" id="{6F1D060D-B8E2-6ED1-FC41-A242BE33DD17}"/>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39" name="Rectangle 38">
              <a:extLst>
                <a:ext uri="{FF2B5EF4-FFF2-40B4-BE49-F238E27FC236}">
                  <a16:creationId xmlns:a16="http://schemas.microsoft.com/office/drawing/2014/main" id="{75EE6563-DBBD-657C-B05D-0EAC91F563A5}"/>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1" name="Rectangle 40">
              <a:extLst>
                <a:ext uri="{FF2B5EF4-FFF2-40B4-BE49-F238E27FC236}">
                  <a16:creationId xmlns:a16="http://schemas.microsoft.com/office/drawing/2014/main" id="{5A2BF442-5F0E-AEA6-B368-93D774593CD0}"/>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2" name="Rectangle 41">
              <a:extLst>
                <a:ext uri="{FF2B5EF4-FFF2-40B4-BE49-F238E27FC236}">
                  <a16:creationId xmlns:a16="http://schemas.microsoft.com/office/drawing/2014/main" id="{06B2BCA0-2005-BC65-B032-92C23BC7D0AE}"/>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43" name="Rectangle 42">
              <a:extLst>
                <a:ext uri="{FF2B5EF4-FFF2-40B4-BE49-F238E27FC236}">
                  <a16:creationId xmlns:a16="http://schemas.microsoft.com/office/drawing/2014/main" id="{2C1930DC-891D-A0F9-E0CE-19505A447EAC}"/>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371552029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59EE0D3E-3BF1-445E-6DDD-8E7EC180D1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 y="39250"/>
            <a:ext cx="12188389" cy="6858000"/>
          </a:xfrm>
          <a:prstGeom prst="rect">
            <a:avLst/>
          </a:prstGeom>
        </p:spPr>
      </p:pic>
      <p:sp>
        <p:nvSpPr>
          <p:cNvPr id="2" name="标题 1"/>
          <p:cNvSpPr>
            <a:spLocks noGrp="1"/>
          </p:cNvSpPr>
          <p:nvPr>
            <p:ph type="title"/>
          </p:nvPr>
        </p:nvSpPr>
        <p:spPr>
          <a:xfrm>
            <a:off x="838200" y="136525"/>
            <a:ext cx="10515600" cy="757997"/>
          </a:xfrm>
        </p:spPr>
        <p:txBody>
          <a:bodyPr>
            <a:normAutofit/>
          </a:bodyPr>
          <a:lstStyle>
            <a:lvl1pPr>
              <a:defRPr sz="2800" b="1"/>
            </a:lvl1pPr>
          </a:lstStyle>
          <a:p>
            <a:r>
              <a:rPr lang="zh-CN" altLang="en-US" dirty="0"/>
              <a:t>单击此处编辑母版标题样式</a:t>
            </a:r>
          </a:p>
        </p:txBody>
      </p:sp>
      <p:sp>
        <p:nvSpPr>
          <p:cNvPr id="3" name="内容占位符 2"/>
          <p:cNvSpPr>
            <a:spLocks noGrp="1"/>
          </p:cNvSpPr>
          <p:nvPr>
            <p:ph idx="1"/>
          </p:nvPr>
        </p:nvSpPr>
        <p:spPr>
          <a:xfrm>
            <a:off x="838200" y="1572708"/>
            <a:ext cx="10515600" cy="435133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D997B5FA-0921-464F-AAE1-844C04324D75}" type="datetimeFigureOut">
              <a:rPr lang="zh-CN" altLang="en-US" smtClean="0"/>
              <a:t>2022/7/13</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565CE74E-AB26-4998-AD42-012C4C1AD076}" type="slidenum">
              <a:rPr lang="zh-CN" altLang="en-US" smtClean="0"/>
              <a:t>‹#›</a:t>
            </a:fld>
            <a:endParaRPr lang="zh-CN" altLang="en-US"/>
          </a:p>
        </p:txBody>
      </p:sp>
    </p:spTree>
    <p:extLst>
      <p:ext uri="{BB962C8B-B14F-4D97-AF65-F5344CB8AC3E}">
        <p14:creationId xmlns:p14="http://schemas.microsoft.com/office/powerpoint/2010/main" val="7494576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 Main">
    <p:spTree>
      <p:nvGrpSpPr>
        <p:cNvPr id="1" name=""/>
        <p:cNvGrpSpPr/>
        <p:nvPr/>
      </p:nvGrpSpPr>
      <p:grpSpPr>
        <a:xfrm>
          <a:off x="0" y="0"/>
          <a:ext cx="0" cy="0"/>
          <a:chOff x="0" y="0"/>
          <a:chExt cx="0" cy="0"/>
        </a:xfrm>
      </p:grpSpPr>
      <p:sp>
        <p:nvSpPr>
          <p:cNvPr id="2" name="Title 1"/>
          <p:cNvSpPr>
            <a:spLocks noGrp="1"/>
          </p:cNvSpPr>
          <p:nvPr>
            <p:ph type="ctrTitle"/>
          </p:nvPr>
        </p:nvSpPr>
        <p:spPr>
          <a:xfrm>
            <a:off x="5389085" y="2510515"/>
            <a:ext cx="6172652" cy="332091"/>
          </a:xfrm>
        </p:spPr>
        <p:txBody>
          <a:bodyPr vert="horz" lIns="0" tIns="0" rIns="0" bIns="0" rtlCol="0" anchor="b">
            <a:noAutofit/>
          </a:bodyPr>
          <a:lstStyle>
            <a:lvl1pPr>
              <a:defRPr lang="en-US" sz="2931" b="0" i="0" cap="none" dirty="0">
                <a:latin typeface="Arial" panose="020B0604020202020204" pitchFamily="34" charset="0"/>
                <a:cs typeface="Arial" panose="020B0604020202020204" pitchFamily="34" charset="0"/>
              </a:defRPr>
            </a:lvl1pPr>
          </a:lstStyle>
          <a:p>
            <a:pPr lvl="0">
              <a:lnSpc>
                <a:spcPct val="90000"/>
              </a:lnSpc>
            </a:pPr>
            <a:r>
              <a:rPr lang="en-US" dirty="0"/>
              <a:t>Click to edit Master title style</a:t>
            </a:r>
          </a:p>
        </p:txBody>
      </p:sp>
      <p:sp>
        <p:nvSpPr>
          <p:cNvPr id="5" name="Rectangle 4">
            <a:extLst>
              <a:ext uri="{FF2B5EF4-FFF2-40B4-BE49-F238E27FC236}">
                <a16:creationId xmlns:a16="http://schemas.microsoft.com/office/drawing/2014/main" id="{4367F39C-80A4-9B40-AF6E-22D7D1F94107}"/>
              </a:ext>
            </a:extLst>
          </p:cNvPr>
          <p:cNvSpPr/>
          <p:nvPr userDrawn="1"/>
        </p:nvSpPr>
        <p:spPr>
          <a:xfrm>
            <a:off x="0" y="1"/>
            <a:ext cx="485613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04" tIns="60904" rIns="60904" bIns="60904" numCol="1" spcCol="0" rtlCol="0" fromWordArt="0" anchor="ctr" anchorCtr="0" forceAA="0" compatLnSpc="1">
            <a:prstTxWarp prst="textNoShape">
              <a:avLst/>
            </a:prstTxWarp>
            <a:normAutofit/>
          </a:bodyPr>
          <a:lstStyle/>
          <a:p>
            <a:pPr algn="ctr"/>
            <a:endParaRPr lang="en-US" sz="2131" dirty="0"/>
          </a:p>
        </p:txBody>
      </p:sp>
      <p:sp>
        <p:nvSpPr>
          <p:cNvPr id="22" name="Subtitle 2">
            <a:extLst>
              <a:ext uri="{FF2B5EF4-FFF2-40B4-BE49-F238E27FC236}">
                <a16:creationId xmlns:a16="http://schemas.microsoft.com/office/drawing/2014/main" id="{5D859A0A-927A-D649-97A9-7C58181CC5A3}"/>
              </a:ext>
            </a:extLst>
          </p:cNvPr>
          <p:cNvSpPr>
            <a:spLocks noGrp="1"/>
          </p:cNvSpPr>
          <p:nvPr>
            <p:ph type="subTitle" idx="1" hasCustomPrompt="1"/>
          </p:nvPr>
        </p:nvSpPr>
        <p:spPr>
          <a:xfrm>
            <a:off x="5389085" y="3086367"/>
            <a:ext cx="6223809" cy="430167"/>
          </a:xfrm>
        </p:spPr>
        <p:txBody>
          <a:bodyPr vert="horz" lIns="0" tIns="0" rIns="0" bIns="0" rtlCol="0" anchor="t" anchorCtr="0">
            <a:noAutofit/>
          </a:bodyPr>
          <a:lstStyle>
            <a:lvl1pPr>
              <a:lnSpc>
                <a:spcPct val="100000"/>
              </a:lnSpc>
              <a:defRPr lang="en-US" sz="1599" b="0" cap="none" dirty="0">
                <a:solidFill>
                  <a:schemeClr val="tx2"/>
                </a:solidFill>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grpSp>
        <p:nvGrpSpPr>
          <p:cNvPr id="23" name="Group 22">
            <a:extLst>
              <a:ext uri="{FF2B5EF4-FFF2-40B4-BE49-F238E27FC236}">
                <a16:creationId xmlns:a16="http://schemas.microsoft.com/office/drawing/2014/main" id="{F342ED27-5F63-D649-85EA-EE5937F46D75}"/>
              </a:ext>
            </a:extLst>
          </p:cNvPr>
          <p:cNvGrpSpPr>
            <a:grpSpLocks noChangeAspect="1"/>
          </p:cNvGrpSpPr>
          <p:nvPr userDrawn="1"/>
        </p:nvGrpSpPr>
        <p:grpSpPr>
          <a:xfrm>
            <a:off x="5397331" y="2921467"/>
            <a:ext cx="6803136" cy="60786"/>
            <a:chOff x="-4" y="5045891"/>
            <a:chExt cx="9144003" cy="102377"/>
          </a:xfrm>
        </p:grpSpPr>
        <p:sp>
          <p:nvSpPr>
            <p:cNvPr id="24" name="Rectangle 23">
              <a:extLst>
                <a:ext uri="{FF2B5EF4-FFF2-40B4-BE49-F238E27FC236}">
                  <a16:creationId xmlns:a16="http://schemas.microsoft.com/office/drawing/2014/main" id="{A7243B5A-0504-DD44-93A6-9833356431E0}"/>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5" name="Rectangle 24">
              <a:extLst>
                <a:ext uri="{FF2B5EF4-FFF2-40B4-BE49-F238E27FC236}">
                  <a16:creationId xmlns:a16="http://schemas.microsoft.com/office/drawing/2014/main" id="{BAE00A43-D36E-5948-BD79-7698EA4AE83A}"/>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6" name="Rectangle 25">
              <a:extLst>
                <a:ext uri="{FF2B5EF4-FFF2-40B4-BE49-F238E27FC236}">
                  <a16:creationId xmlns:a16="http://schemas.microsoft.com/office/drawing/2014/main" id="{1C31F1ED-B158-DC4E-8229-B8E3F962474E}"/>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7" name="Rectangle 26">
              <a:extLst>
                <a:ext uri="{FF2B5EF4-FFF2-40B4-BE49-F238E27FC236}">
                  <a16:creationId xmlns:a16="http://schemas.microsoft.com/office/drawing/2014/main" id="{0436FBB6-96A9-C046-93FA-426C60C828DC}"/>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8" name="Rectangle 27">
              <a:extLst>
                <a:ext uri="{FF2B5EF4-FFF2-40B4-BE49-F238E27FC236}">
                  <a16:creationId xmlns:a16="http://schemas.microsoft.com/office/drawing/2014/main" id="{9A9BB168-A405-3F41-86A6-49D406366CF2}"/>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115119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 Main_v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7D78CF-02A9-6E4D-A6D1-44C4D247806E}"/>
              </a:ext>
            </a:extLst>
          </p:cNvPr>
          <p:cNvPicPr>
            <a:picLocks noChangeAspect="1"/>
          </p:cNvPicPr>
          <p:nvPr userDrawn="1"/>
        </p:nvPicPr>
        <p:blipFill>
          <a:blip r:embed="rId2"/>
          <a:srcRect/>
          <a:stretch/>
        </p:blipFill>
        <p:spPr>
          <a:xfrm>
            <a:off x="197" y="1"/>
            <a:ext cx="3654631" cy="6858000"/>
          </a:xfrm>
          <a:prstGeom prst="rect">
            <a:avLst/>
          </a:prstGeom>
        </p:spPr>
      </p:pic>
      <p:sp>
        <p:nvSpPr>
          <p:cNvPr id="2" name="Title 1"/>
          <p:cNvSpPr>
            <a:spLocks noGrp="1"/>
          </p:cNvSpPr>
          <p:nvPr>
            <p:ph type="ctrTitle"/>
          </p:nvPr>
        </p:nvSpPr>
        <p:spPr>
          <a:xfrm>
            <a:off x="4102379" y="2504745"/>
            <a:ext cx="6172652" cy="332091"/>
          </a:xfrm>
        </p:spPr>
        <p:txBody>
          <a:bodyPr vert="horz" lIns="0" tIns="0" rIns="0" bIns="0" rtlCol="0" anchor="b">
            <a:noAutofit/>
          </a:bodyPr>
          <a:lstStyle>
            <a:lvl1pPr>
              <a:defRPr lang="en-US" sz="2664" b="0" i="0" cap="none" dirty="0">
                <a:latin typeface="Arial" panose="020B0604020202020204" pitchFamily="34" charset="0"/>
                <a:cs typeface="Arial" panose="020B0604020202020204" pitchFamily="34" charset="0"/>
              </a:defRPr>
            </a:lvl1pPr>
          </a:lstStyle>
          <a:p>
            <a:pPr lvl="0">
              <a:lnSpc>
                <a:spcPct val="90000"/>
              </a:lnSpc>
            </a:pPr>
            <a:r>
              <a:rPr lang="en-US" dirty="0"/>
              <a:t>Click to edit Master title style</a:t>
            </a:r>
          </a:p>
        </p:txBody>
      </p:sp>
      <p:sp>
        <p:nvSpPr>
          <p:cNvPr id="19" name="TextBox 18">
            <a:extLst>
              <a:ext uri="{FF2B5EF4-FFF2-40B4-BE49-F238E27FC236}">
                <a16:creationId xmlns:a16="http://schemas.microsoft.com/office/drawing/2014/main" id="{A8ED48A0-9D8C-7545-8C02-51A6A0449D9E}"/>
              </a:ext>
            </a:extLst>
          </p:cNvPr>
          <p:cNvSpPr txBox="1"/>
          <p:nvPr userDrawn="1"/>
        </p:nvSpPr>
        <p:spPr>
          <a:xfrm>
            <a:off x="4095079" y="6496093"/>
            <a:ext cx="5815695" cy="117853"/>
          </a:xfrm>
          <a:prstGeom prst="rect">
            <a:avLst/>
          </a:prstGeom>
          <a:noFill/>
          <a:ln w="12700">
            <a:noFill/>
          </a:ln>
        </p:spPr>
        <p:txBody>
          <a:bodyPr wrap="none" lIns="0" tIns="0" rIns="0" bIns="0" rtlCol="0">
            <a:spAutoFit/>
          </a:bodyPr>
          <a:lstStyle/>
          <a:p>
            <a:pPr algn="l"/>
            <a:r>
              <a:rPr lang="en-US" sz="766"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2" name="Subtitle 2">
            <a:extLst>
              <a:ext uri="{FF2B5EF4-FFF2-40B4-BE49-F238E27FC236}">
                <a16:creationId xmlns:a16="http://schemas.microsoft.com/office/drawing/2014/main" id="{5D859A0A-927A-D649-97A9-7C58181CC5A3}"/>
              </a:ext>
            </a:extLst>
          </p:cNvPr>
          <p:cNvSpPr>
            <a:spLocks noGrp="1"/>
          </p:cNvSpPr>
          <p:nvPr>
            <p:ph type="subTitle" idx="1" hasCustomPrompt="1"/>
          </p:nvPr>
        </p:nvSpPr>
        <p:spPr>
          <a:xfrm>
            <a:off x="4095080" y="2922658"/>
            <a:ext cx="6223809" cy="430167"/>
          </a:xfrm>
        </p:spPr>
        <p:txBody>
          <a:bodyPr vert="horz" lIns="0" tIns="0" rIns="0" bIns="0" rtlCol="0" anchor="t" anchorCtr="0">
            <a:noAutofit/>
          </a:bodyPr>
          <a:lstStyle>
            <a:lvl1pPr>
              <a:lnSpc>
                <a:spcPct val="100000"/>
              </a:lnSpc>
              <a:defRPr lang="en-US" sz="1465" b="1" cap="none" dirty="0">
                <a:solidFill>
                  <a:schemeClr val="tx2"/>
                </a:solidFill>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36" name="Text Placeholder 8">
            <a:extLst>
              <a:ext uri="{FF2B5EF4-FFF2-40B4-BE49-F238E27FC236}">
                <a16:creationId xmlns:a16="http://schemas.microsoft.com/office/drawing/2014/main" id="{96A8124C-3E9A-4318-B0AB-442FFD932515}"/>
              </a:ext>
            </a:extLst>
          </p:cNvPr>
          <p:cNvSpPr>
            <a:spLocks noGrp="1"/>
          </p:cNvSpPr>
          <p:nvPr>
            <p:ph type="body" sz="quarter" idx="15"/>
          </p:nvPr>
        </p:nvSpPr>
        <p:spPr>
          <a:xfrm>
            <a:off x="298681" y="5769001"/>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3" name="Text Placeholder 8">
            <a:extLst>
              <a:ext uri="{FF2B5EF4-FFF2-40B4-BE49-F238E27FC236}">
                <a16:creationId xmlns:a16="http://schemas.microsoft.com/office/drawing/2014/main" id="{21F8F872-ED2B-43E0-9103-67272BB600D6}"/>
              </a:ext>
            </a:extLst>
          </p:cNvPr>
          <p:cNvSpPr>
            <a:spLocks noGrp="1"/>
          </p:cNvSpPr>
          <p:nvPr>
            <p:ph type="body" sz="quarter" idx="16"/>
          </p:nvPr>
        </p:nvSpPr>
        <p:spPr>
          <a:xfrm>
            <a:off x="298681" y="5924473"/>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4" name="Text Placeholder 8">
            <a:extLst>
              <a:ext uri="{FF2B5EF4-FFF2-40B4-BE49-F238E27FC236}">
                <a16:creationId xmlns:a16="http://schemas.microsoft.com/office/drawing/2014/main" id="{A2665645-A3D0-49C9-8D64-8CECB9386341}"/>
              </a:ext>
            </a:extLst>
          </p:cNvPr>
          <p:cNvSpPr>
            <a:spLocks noGrp="1"/>
          </p:cNvSpPr>
          <p:nvPr>
            <p:ph type="body" sz="quarter" idx="17"/>
          </p:nvPr>
        </p:nvSpPr>
        <p:spPr>
          <a:xfrm>
            <a:off x="298681" y="6069696"/>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45" name="Text Placeholder 8">
            <a:extLst>
              <a:ext uri="{FF2B5EF4-FFF2-40B4-BE49-F238E27FC236}">
                <a16:creationId xmlns:a16="http://schemas.microsoft.com/office/drawing/2014/main" id="{7214365C-24AB-4338-A3E1-305F7467312C}"/>
              </a:ext>
            </a:extLst>
          </p:cNvPr>
          <p:cNvSpPr>
            <a:spLocks noGrp="1"/>
          </p:cNvSpPr>
          <p:nvPr>
            <p:ph type="body" sz="quarter" idx="18"/>
          </p:nvPr>
        </p:nvSpPr>
        <p:spPr>
          <a:xfrm>
            <a:off x="298681" y="6214917"/>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51" name="TextBox 50">
            <a:extLst>
              <a:ext uri="{FF2B5EF4-FFF2-40B4-BE49-F238E27FC236}">
                <a16:creationId xmlns:a16="http://schemas.microsoft.com/office/drawing/2014/main" id="{DDC055D9-293F-451C-8E43-134DDFD25B1A}"/>
              </a:ext>
            </a:extLst>
          </p:cNvPr>
          <p:cNvSpPr txBox="1"/>
          <p:nvPr userDrawn="1"/>
        </p:nvSpPr>
        <p:spPr>
          <a:xfrm>
            <a:off x="298681" y="6514030"/>
            <a:ext cx="1316736" cy="82010"/>
          </a:xfrm>
          <a:prstGeom prst="rect">
            <a:avLst/>
          </a:prstGeom>
          <a:noFill/>
          <a:ln w="12700">
            <a:noFill/>
          </a:ln>
        </p:spPr>
        <p:txBody>
          <a:bodyPr wrap="square" lIns="0" tIns="0" rIns="0" bIns="0" rtlCol="0">
            <a:spAutoFit/>
          </a:bodyPr>
          <a:lstStyle/>
          <a:p>
            <a:pPr lvl="0"/>
            <a:r>
              <a:rPr lang="en-US" sz="533" dirty="0">
                <a:solidFill>
                  <a:schemeClr val="bg1"/>
                </a:solidFill>
              </a:rPr>
              <a:t>*Age at time of photo shoot.</a:t>
            </a:r>
          </a:p>
        </p:txBody>
      </p:sp>
      <p:grpSp>
        <p:nvGrpSpPr>
          <p:cNvPr id="18" name="Group 17">
            <a:extLst>
              <a:ext uri="{FF2B5EF4-FFF2-40B4-BE49-F238E27FC236}">
                <a16:creationId xmlns:a16="http://schemas.microsoft.com/office/drawing/2014/main" id="{A4C3C006-0F6E-2095-FB51-3B7463EF0AC4}"/>
              </a:ext>
            </a:extLst>
          </p:cNvPr>
          <p:cNvGrpSpPr/>
          <p:nvPr userDrawn="1"/>
        </p:nvGrpSpPr>
        <p:grpSpPr>
          <a:xfrm>
            <a:off x="-5" y="6764982"/>
            <a:ext cx="12192004" cy="91440"/>
            <a:chOff x="-4" y="5045891"/>
            <a:chExt cx="9144003" cy="102377"/>
          </a:xfrm>
        </p:grpSpPr>
        <p:sp>
          <p:nvSpPr>
            <p:cNvPr id="20" name="Rectangle 19">
              <a:extLst>
                <a:ext uri="{FF2B5EF4-FFF2-40B4-BE49-F238E27FC236}">
                  <a16:creationId xmlns:a16="http://schemas.microsoft.com/office/drawing/2014/main" id="{406A4C72-A092-041F-3EB1-37B2995F59BF}"/>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1" name="Rectangle 20">
              <a:extLst>
                <a:ext uri="{FF2B5EF4-FFF2-40B4-BE49-F238E27FC236}">
                  <a16:creationId xmlns:a16="http://schemas.microsoft.com/office/drawing/2014/main" id="{4768D3D3-300E-9365-BF51-46CC53FA0D6E}"/>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3" name="Rectangle 22">
              <a:extLst>
                <a:ext uri="{FF2B5EF4-FFF2-40B4-BE49-F238E27FC236}">
                  <a16:creationId xmlns:a16="http://schemas.microsoft.com/office/drawing/2014/main" id="{BF450BAA-C30F-7A99-75D6-12D798F85F0B}"/>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4" name="Rectangle 23">
              <a:extLst>
                <a:ext uri="{FF2B5EF4-FFF2-40B4-BE49-F238E27FC236}">
                  <a16:creationId xmlns:a16="http://schemas.microsoft.com/office/drawing/2014/main" id="{4979941F-3880-A278-40A3-00B62C31CC3A}"/>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5" name="Rectangle 24">
              <a:extLst>
                <a:ext uri="{FF2B5EF4-FFF2-40B4-BE49-F238E27FC236}">
                  <a16:creationId xmlns:a16="http://schemas.microsoft.com/office/drawing/2014/main" id="{ABFAB5CF-A776-1956-8829-DE7C28F67B95}"/>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3427639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 Main_v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2F497F1-6FC7-CF40-964A-10EB05F039E5}"/>
              </a:ext>
            </a:extLst>
          </p:cNvPr>
          <p:cNvPicPr>
            <a:picLocks noChangeAspect="1"/>
          </p:cNvPicPr>
          <p:nvPr userDrawn="1"/>
        </p:nvPicPr>
        <p:blipFill>
          <a:blip r:embed="rId2"/>
          <a:srcRect/>
          <a:stretch/>
        </p:blipFill>
        <p:spPr>
          <a:xfrm>
            <a:off x="1" y="2709"/>
            <a:ext cx="3651743" cy="6852580"/>
          </a:xfrm>
          <a:prstGeom prst="rect">
            <a:avLst/>
          </a:prstGeom>
        </p:spPr>
      </p:pic>
      <p:sp>
        <p:nvSpPr>
          <p:cNvPr id="2" name="Title 1"/>
          <p:cNvSpPr>
            <a:spLocks noGrp="1"/>
          </p:cNvSpPr>
          <p:nvPr>
            <p:ph type="ctrTitle"/>
          </p:nvPr>
        </p:nvSpPr>
        <p:spPr>
          <a:xfrm>
            <a:off x="4102379" y="2504745"/>
            <a:ext cx="6172652" cy="332091"/>
          </a:xfrm>
        </p:spPr>
        <p:txBody>
          <a:bodyPr vert="horz" lIns="0" tIns="0" rIns="0" bIns="0" rtlCol="0" anchor="b">
            <a:noAutofit/>
          </a:bodyPr>
          <a:lstStyle>
            <a:lvl1pPr>
              <a:defRPr lang="en-US" sz="2664" b="0" i="0" cap="none" dirty="0">
                <a:latin typeface="Arial" panose="020B0604020202020204" pitchFamily="34" charset="0"/>
                <a:cs typeface="Arial" panose="020B0604020202020204" pitchFamily="34" charset="0"/>
              </a:defRPr>
            </a:lvl1pPr>
          </a:lstStyle>
          <a:p>
            <a:pPr lvl="0">
              <a:lnSpc>
                <a:spcPct val="90000"/>
              </a:lnSpc>
            </a:pPr>
            <a:r>
              <a:rPr lang="en-US" dirty="0"/>
              <a:t>Click to edit Master title style</a:t>
            </a:r>
          </a:p>
        </p:txBody>
      </p:sp>
      <p:sp>
        <p:nvSpPr>
          <p:cNvPr id="19" name="TextBox 18">
            <a:extLst>
              <a:ext uri="{FF2B5EF4-FFF2-40B4-BE49-F238E27FC236}">
                <a16:creationId xmlns:a16="http://schemas.microsoft.com/office/drawing/2014/main" id="{A8ED48A0-9D8C-7545-8C02-51A6A0449D9E}"/>
              </a:ext>
            </a:extLst>
          </p:cNvPr>
          <p:cNvSpPr txBox="1"/>
          <p:nvPr userDrawn="1"/>
        </p:nvSpPr>
        <p:spPr>
          <a:xfrm>
            <a:off x="4095079" y="6496792"/>
            <a:ext cx="5815695" cy="117853"/>
          </a:xfrm>
          <a:prstGeom prst="rect">
            <a:avLst/>
          </a:prstGeom>
          <a:noFill/>
          <a:ln w="12700">
            <a:noFill/>
          </a:ln>
        </p:spPr>
        <p:txBody>
          <a:bodyPr wrap="none" lIns="0" tIns="0" rIns="0" bIns="0" rtlCol="0">
            <a:spAutoFit/>
          </a:bodyPr>
          <a:lstStyle/>
          <a:p>
            <a:pPr algn="l"/>
            <a:r>
              <a:rPr lang="en-US" sz="766"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2" name="Subtitle 2">
            <a:extLst>
              <a:ext uri="{FF2B5EF4-FFF2-40B4-BE49-F238E27FC236}">
                <a16:creationId xmlns:a16="http://schemas.microsoft.com/office/drawing/2014/main" id="{5D859A0A-927A-D649-97A9-7C58181CC5A3}"/>
              </a:ext>
            </a:extLst>
          </p:cNvPr>
          <p:cNvSpPr>
            <a:spLocks noGrp="1"/>
          </p:cNvSpPr>
          <p:nvPr>
            <p:ph type="subTitle" idx="1" hasCustomPrompt="1"/>
          </p:nvPr>
        </p:nvSpPr>
        <p:spPr>
          <a:xfrm>
            <a:off x="4095080" y="2922658"/>
            <a:ext cx="6223809" cy="430167"/>
          </a:xfrm>
        </p:spPr>
        <p:txBody>
          <a:bodyPr vert="horz" lIns="0" tIns="0" rIns="0" bIns="0" rtlCol="0" anchor="t" anchorCtr="0">
            <a:noAutofit/>
          </a:bodyPr>
          <a:lstStyle>
            <a:lvl1pPr>
              <a:lnSpc>
                <a:spcPct val="100000"/>
              </a:lnSpc>
              <a:defRPr lang="en-US" sz="1465" b="1" cap="none" dirty="0">
                <a:solidFill>
                  <a:schemeClr val="tx2"/>
                </a:solidFill>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32" name="TextBox 31">
            <a:extLst>
              <a:ext uri="{FF2B5EF4-FFF2-40B4-BE49-F238E27FC236}">
                <a16:creationId xmlns:a16="http://schemas.microsoft.com/office/drawing/2014/main" id="{AFFBF615-6E36-4738-8B28-88181572B983}"/>
              </a:ext>
            </a:extLst>
          </p:cNvPr>
          <p:cNvSpPr txBox="1"/>
          <p:nvPr userDrawn="1"/>
        </p:nvSpPr>
        <p:spPr>
          <a:xfrm>
            <a:off x="298681" y="6514030"/>
            <a:ext cx="1316736" cy="82010"/>
          </a:xfrm>
          <a:prstGeom prst="rect">
            <a:avLst/>
          </a:prstGeom>
          <a:noFill/>
          <a:ln w="12700">
            <a:noFill/>
          </a:ln>
        </p:spPr>
        <p:txBody>
          <a:bodyPr wrap="square" lIns="0" tIns="0" rIns="0" bIns="0" rtlCol="0">
            <a:spAutoFit/>
          </a:bodyPr>
          <a:lstStyle/>
          <a:p>
            <a:pPr lvl="0"/>
            <a:r>
              <a:rPr lang="en-US" sz="533" dirty="0">
                <a:solidFill>
                  <a:schemeClr val="bg1"/>
                </a:solidFill>
              </a:rPr>
              <a:t>Not a real patient</a:t>
            </a:r>
          </a:p>
        </p:txBody>
      </p:sp>
      <p:grpSp>
        <p:nvGrpSpPr>
          <p:cNvPr id="14" name="Group 13">
            <a:extLst>
              <a:ext uri="{FF2B5EF4-FFF2-40B4-BE49-F238E27FC236}">
                <a16:creationId xmlns:a16="http://schemas.microsoft.com/office/drawing/2014/main" id="{376E46FE-7496-FD53-B356-DD919511EB92}"/>
              </a:ext>
            </a:extLst>
          </p:cNvPr>
          <p:cNvGrpSpPr/>
          <p:nvPr userDrawn="1"/>
        </p:nvGrpSpPr>
        <p:grpSpPr>
          <a:xfrm>
            <a:off x="-5" y="6764982"/>
            <a:ext cx="12192004" cy="91440"/>
            <a:chOff x="-4" y="5045891"/>
            <a:chExt cx="9144003" cy="102377"/>
          </a:xfrm>
        </p:grpSpPr>
        <p:sp>
          <p:nvSpPr>
            <p:cNvPr id="15" name="Rectangle 14">
              <a:extLst>
                <a:ext uri="{FF2B5EF4-FFF2-40B4-BE49-F238E27FC236}">
                  <a16:creationId xmlns:a16="http://schemas.microsoft.com/office/drawing/2014/main" id="{461DF506-27AA-991E-42E1-439AC1CDD15D}"/>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16" name="Rectangle 15">
              <a:extLst>
                <a:ext uri="{FF2B5EF4-FFF2-40B4-BE49-F238E27FC236}">
                  <a16:creationId xmlns:a16="http://schemas.microsoft.com/office/drawing/2014/main" id="{22725D93-9AF4-7C9B-D66D-6ACE56DC9260}"/>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17" name="Rectangle 16">
              <a:extLst>
                <a:ext uri="{FF2B5EF4-FFF2-40B4-BE49-F238E27FC236}">
                  <a16:creationId xmlns:a16="http://schemas.microsoft.com/office/drawing/2014/main" id="{38E4D8E9-1393-C38E-A7B4-505F4A23C400}"/>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18" name="Rectangle 17">
              <a:extLst>
                <a:ext uri="{FF2B5EF4-FFF2-40B4-BE49-F238E27FC236}">
                  <a16:creationId xmlns:a16="http://schemas.microsoft.com/office/drawing/2014/main" id="{6701AC53-B292-29E8-BC1B-8BFE18DE4404}"/>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0" name="Rectangle 19">
              <a:extLst>
                <a:ext uri="{FF2B5EF4-FFF2-40B4-BE49-F238E27FC236}">
                  <a16:creationId xmlns:a16="http://schemas.microsoft.com/office/drawing/2014/main" id="{5B9F9ECD-674B-C571-5135-407D4CE34A1B}"/>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28675265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 Main_v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1167B7B-A6A5-4F12-9AEC-839DA6708B4B}"/>
              </a:ext>
            </a:extLst>
          </p:cNvPr>
          <p:cNvPicPr>
            <a:picLocks noChangeAspect="1"/>
          </p:cNvPicPr>
          <p:nvPr userDrawn="1"/>
        </p:nvPicPr>
        <p:blipFill>
          <a:blip r:embed="rId2"/>
          <a:srcRect/>
          <a:stretch/>
        </p:blipFill>
        <p:spPr>
          <a:xfrm>
            <a:off x="2467" y="1"/>
            <a:ext cx="3650091" cy="6858000"/>
          </a:xfrm>
          <a:prstGeom prst="rect">
            <a:avLst/>
          </a:prstGeom>
        </p:spPr>
      </p:pic>
      <p:sp>
        <p:nvSpPr>
          <p:cNvPr id="2" name="Title 1"/>
          <p:cNvSpPr>
            <a:spLocks noGrp="1"/>
          </p:cNvSpPr>
          <p:nvPr>
            <p:ph type="ctrTitle"/>
          </p:nvPr>
        </p:nvSpPr>
        <p:spPr>
          <a:xfrm>
            <a:off x="4102379" y="2504745"/>
            <a:ext cx="6172652" cy="332091"/>
          </a:xfrm>
        </p:spPr>
        <p:txBody>
          <a:bodyPr vert="horz" lIns="0" tIns="0" rIns="0" bIns="0" rtlCol="0" anchor="b">
            <a:noAutofit/>
          </a:bodyPr>
          <a:lstStyle>
            <a:lvl1pPr>
              <a:defRPr lang="en-US" sz="2664" b="0" i="0" cap="none" dirty="0">
                <a:latin typeface="Arial" panose="020B0604020202020204" pitchFamily="34" charset="0"/>
                <a:cs typeface="Arial" panose="020B0604020202020204" pitchFamily="34" charset="0"/>
              </a:defRPr>
            </a:lvl1pPr>
          </a:lstStyle>
          <a:p>
            <a:pPr lvl="0">
              <a:lnSpc>
                <a:spcPct val="90000"/>
              </a:lnSpc>
            </a:pPr>
            <a:r>
              <a:rPr lang="en-US" dirty="0"/>
              <a:t>Click to edit Master title style</a:t>
            </a:r>
          </a:p>
        </p:txBody>
      </p:sp>
      <p:sp>
        <p:nvSpPr>
          <p:cNvPr id="19" name="TextBox 18">
            <a:extLst>
              <a:ext uri="{FF2B5EF4-FFF2-40B4-BE49-F238E27FC236}">
                <a16:creationId xmlns:a16="http://schemas.microsoft.com/office/drawing/2014/main" id="{A8ED48A0-9D8C-7545-8C02-51A6A0449D9E}"/>
              </a:ext>
            </a:extLst>
          </p:cNvPr>
          <p:cNvSpPr txBox="1"/>
          <p:nvPr userDrawn="1"/>
        </p:nvSpPr>
        <p:spPr>
          <a:xfrm>
            <a:off x="4095079" y="6496792"/>
            <a:ext cx="5815695" cy="117853"/>
          </a:xfrm>
          <a:prstGeom prst="rect">
            <a:avLst/>
          </a:prstGeom>
          <a:noFill/>
          <a:ln w="12700">
            <a:noFill/>
          </a:ln>
        </p:spPr>
        <p:txBody>
          <a:bodyPr wrap="none" lIns="0" tIns="0" rIns="0" bIns="0" rtlCol="0">
            <a:spAutoFit/>
          </a:bodyPr>
          <a:lstStyle/>
          <a:p>
            <a:pPr algn="l"/>
            <a:r>
              <a:rPr lang="en-US" sz="766"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2" name="Subtitle 2">
            <a:extLst>
              <a:ext uri="{FF2B5EF4-FFF2-40B4-BE49-F238E27FC236}">
                <a16:creationId xmlns:a16="http://schemas.microsoft.com/office/drawing/2014/main" id="{5D859A0A-927A-D649-97A9-7C58181CC5A3}"/>
              </a:ext>
            </a:extLst>
          </p:cNvPr>
          <p:cNvSpPr>
            <a:spLocks noGrp="1"/>
          </p:cNvSpPr>
          <p:nvPr>
            <p:ph type="subTitle" idx="1" hasCustomPrompt="1"/>
          </p:nvPr>
        </p:nvSpPr>
        <p:spPr>
          <a:xfrm>
            <a:off x="4095080" y="2922658"/>
            <a:ext cx="6223809" cy="430167"/>
          </a:xfrm>
        </p:spPr>
        <p:txBody>
          <a:bodyPr vert="horz" lIns="0" tIns="0" rIns="0" bIns="0" rtlCol="0" anchor="t" anchorCtr="0">
            <a:noAutofit/>
          </a:bodyPr>
          <a:lstStyle>
            <a:lvl1pPr>
              <a:lnSpc>
                <a:spcPct val="100000"/>
              </a:lnSpc>
              <a:defRPr lang="en-US" sz="1465" b="1" cap="none" dirty="0">
                <a:solidFill>
                  <a:schemeClr val="tx2"/>
                </a:solidFill>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30" name="Text Placeholder 8">
            <a:extLst>
              <a:ext uri="{FF2B5EF4-FFF2-40B4-BE49-F238E27FC236}">
                <a16:creationId xmlns:a16="http://schemas.microsoft.com/office/drawing/2014/main" id="{CEE604F4-1FAA-434F-99A2-D6ED2B269970}"/>
              </a:ext>
            </a:extLst>
          </p:cNvPr>
          <p:cNvSpPr>
            <a:spLocks noGrp="1"/>
          </p:cNvSpPr>
          <p:nvPr>
            <p:ph type="body" sz="quarter" idx="15"/>
          </p:nvPr>
        </p:nvSpPr>
        <p:spPr>
          <a:xfrm>
            <a:off x="298681" y="5769001"/>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1" name="Text Placeholder 8">
            <a:extLst>
              <a:ext uri="{FF2B5EF4-FFF2-40B4-BE49-F238E27FC236}">
                <a16:creationId xmlns:a16="http://schemas.microsoft.com/office/drawing/2014/main" id="{1C7CCC16-DF6A-45F4-ABFF-D492527483DD}"/>
              </a:ext>
            </a:extLst>
          </p:cNvPr>
          <p:cNvSpPr>
            <a:spLocks noGrp="1"/>
          </p:cNvSpPr>
          <p:nvPr>
            <p:ph type="body" sz="quarter" idx="16"/>
          </p:nvPr>
        </p:nvSpPr>
        <p:spPr>
          <a:xfrm>
            <a:off x="298681" y="5924473"/>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2" name="Text Placeholder 8">
            <a:extLst>
              <a:ext uri="{FF2B5EF4-FFF2-40B4-BE49-F238E27FC236}">
                <a16:creationId xmlns:a16="http://schemas.microsoft.com/office/drawing/2014/main" id="{DE2DDF59-1FC7-45BB-BD24-93D261442951}"/>
              </a:ext>
            </a:extLst>
          </p:cNvPr>
          <p:cNvSpPr>
            <a:spLocks noGrp="1"/>
          </p:cNvSpPr>
          <p:nvPr>
            <p:ph type="body" sz="quarter" idx="17"/>
          </p:nvPr>
        </p:nvSpPr>
        <p:spPr>
          <a:xfrm>
            <a:off x="298681" y="6069696"/>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3" name="Text Placeholder 8">
            <a:extLst>
              <a:ext uri="{FF2B5EF4-FFF2-40B4-BE49-F238E27FC236}">
                <a16:creationId xmlns:a16="http://schemas.microsoft.com/office/drawing/2014/main" id="{B06934D2-3F1E-47F5-99F9-33A47897D026}"/>
              </a:ext>
            </a:extLst>
          </p:cNvPr>
          <p:cNvSpPr>
            <a:spLocks noGrp="1"/>
          </p:cNvSpPr>
          <p:nvPr>
            <p:ph type="body" sz="quarter" idx="18"/>
          </p:nvPr>
        </p:nvSpPr>
        <p:spPr>
          <a:xfrm>
            <a:off x="298681" y="6214917"/>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4" name="TextBox 33">
            <a:extLst>
              <a:ext uri="{FF2B5EF4-FFF2-40B4-BE49-F238E27FC236}">
                <a16:creationId xmlns:a16="http://schemas.microsoft.com/office/drawing/2014/main" id="{452128AB-2FF0-4FF1-86F0-17B61C89B602}"/>
              </a:ext>
            </a:extLst>
          </p:cNvPr>
          <p:cNvSpPr txBox="1"/>
          <p:nvPr userDrawn="1"/>
        </p:nvSpPr>
        <p:spPr>
          <a:xfrm>
            <a:off x="298681" y="6514030"/>
            <a:ext cx="1316736" cy="82010"/>
          </a:xfrm>
          <a:prstGeom prst="rect">
            <a:avLst/>
          </a:prstGeom>
          <a:noFill/>
          <a:ln w="12700">
            <a:noFill/>
          </a:ln>
        </p:spPr>
        <p:txBody>
          <a:bodyPr wrap="square" lIns="0" tIns="0" rIns="0" bIns="0" rtlCol="0">
            <a:spAutoFit/>
          </a:bodyPr>
          <a:lstStyle/>
          <a:p>
            <a:pPr lvl="0"/>
            <a:r>
              <a:rPr lang="en-US" sz="533" dirty="0">
                <a:solidFill>
                  <a:schemeClr val="bg1"/>
                </a:solidFill>
              </a:rPr>
              <a:t>*Age at time of photo shoot.</a:t>
            </a:r>
          </a:p>
        </p:txBody>
      </p:sp>
      <p:grpSp>
        <p:nvGrpSpPr>
          <p:cNvPr id="18" name="Group 17">
            <a:extLst>
              <a:ext uri="{FF2B5EF4-FFF2-40B4-BE49-F238E27FC236}">
                <a16:creationId xmlns:a16="http://schemas.microsoft.com/office/drawing/2014/main" id="{A78E7991-EED5-D5C9-C931-2ACBB813C747}"/>
              </a:ext>
            </a:extLst>
          </p:cNvPr>
          <p:cNvGrpSpPr/>
          <p:nvPr userDrawn="1"/>
        </p:nvGrpSpPr>
        <p:grpSpPr>
          <a:xfrm>
            <a:off x="-5" y="6764982"/>
            <a:ext cx="12192004" cy="91440"/>
            <a:chOff x="-4" y="5045891"/>
            <a:chExt cx="9144003" cy="102377"/>
          </a:xfrm>
        </p:grpSpPr>
        <p:sp>
          <p:nvSpPr>
            <p:cNvPr id="20" name="Rectangle 19">
              <a:extLst>
                <a:ext uri="{FF2B5EF4-FFF2-40B4-BE49-F238E27FC236}">
                  <a16:creationId xmlns:a16="http://schemas.microsoft.com/office/drawing/2014/main" id="{3811CF3B-4339-2225-9FB0-5D90C89EEA23}"/>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1" name="Rectangle 20">
              <a:extLst>
                <a:ext uri="{FF2B5EF4-FFF2-40B4-BE49-F238E27FC236}">
                  <a16:creationId xmlns:a16="http://schemas.microsoft.com/office/drawing/2014/main" id="{E79386DE-DE00-FF68-C06A-B61828543BA6}"/>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3" name="Rectangle 22">
              <a:extLst>
                <a:ext uri="{FF2B5EF4-FFF2-40B4-BE49-F238E27FC236}">
                  <a16:creationId xmlns:a16="http://schemas.microsoft.com/office/drawing/2014/main" id="{7F4158C1-0A75-D6BF-353B-3D8D30E00103}"/>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4" name="Rectangle 23">
              <a:extLst>
                <a:ext uri="{FF2B5EF4-FFF2-40B4-BE49-F238E27FC236}">
                  <a16:creationId xmlns:a16="http://schemas.microsoft.com/office/drawing/2014/main" id="{1EBD0F1C-E07D-05C0-C931-F45CBA685D5F}"/>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5" name="Rectangle 24">
              <a:extLst>
                <a:ext uri="{FF2B5EF4-FFF2-40B4-BE49-F238E27FC236}">
                  <a16:creationId xmlns:a16="http://schemas.microsoft.com/office/drawing/2014/main" id="{B5BB8934-714C-1C7D-54F5-645F4148F443}"/>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1268090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 Main_v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1C14D3-43B2-4D94-8AF9-F8EC435981EA}"/>
              </a:ext>
            </a:extLst>
          </p:cNvPr>
          <p:cNvPicPr>
            <a:picLocks noChangeAspect="1"/>
          </p:cNvPicPr>
          <p:nvPr userDrawn="1"/>
        </p:nvPicPr>
        <p:blipFill>
          <a:blip r:embed="rId2"/>
          <a:srcRect/>
          <a:stretch/>
        </p:blipFill>
        <p:spPr>
          <a:xfrm>
            <a:off x="1138" y="1"/>
            <a:ext cx="3646191" cy="6858000"/>
          </a:xfrm>
          <a:prstGeom prst="rect">
            <a:avLst/>
          </a:prstGeom>
        </p:spPr>
      </p:pic>
      <p:sp>
        <p:nvSpPr>
          <p:cNvPr id="2" name="Title 1"/>
          <p:cNvSpPr>
            <a:spLocks noGrp="1"/>
          </p:cNvSpPr>
          <p:nvPr>
            <p:ph type="ctrTitle"/>
          </p:nvPr>
        </p:nvSpPr>
        <p:spPr>
          <a:xfrm>
            <a:off x="4102379" y="2504745"/>
            <a:ext cx="6172652" cy="332091"/>
          </a:xfrm>
        </p:spPr>
        <p:txBody>
          <a:bodyPr vert="horz" lIns="0" tIns="0" rIns="0" bIns="0" rtlCol="0" anchor="b">
            <a:noAutofit/>
          </a:bodyPr>
          <a:lstStyle>
            <a:lvl1pPr>
              <a:defRPr lang="en-US" sz="2664" b="0" i="0" cap="none" dirty="0">
                <a:latin typeface="Arial" panose="020B0604020202020204" pitchFamily="34" charset="0"/>
                <a:cs typeface="Arial" panose="020B0604020202020204" pitchFamily="34" charset="0"/>
              </a:defRPr>
            </a:lvl1pPr>
          </a:lstStyle>
          <a:p>
            <a:pPr lvl="0">
              <a:lnSpc>
                <a:spcPct val="90000"/>
              </a:lnSpc>
            </a:pPr>
            <a:r>
              <a:rPr lang="en-US" dirty="0"/>
              <a:t>Click to edit Master title style</a:t>
            </a:r>
          </a:p>
        </p:txBody>
      </p:sp>
      <p:sp>
        <p:nvSpPr>
          <p:cNvPr id="19" name="TextBox 18">
            <a:extLst>
              <a:ext uri="{FF2B5EF4-FFF2-40B4-BE49-F238E27FC236}">
                <a16:creationId xmlns:a16="http://schemas.microsoft.com/office/drawing/2014/main" id="{A8ED48A0-9D8C-7545-8C02-51A6A0449D9E}"/>
              </a:ext>
            </a:extLst>
          </p:cNvPr>
          <p:cNvSpPr txBox="1"/>
          <p:nvPr userDrawn="1"/>
        </p:nvSpPr>
        <p:spPr>
          <a:xfrm>
            <a:off x="4095079" y="6496792"/>
            <a:ext cx="5815695" cy="117853"/>
          </a:xfrm>
          <a:prstGeom prst="rect">
            <a:avLst/>
          </a:prstGeom>
          <a:noFill/>
          <a:ln w="12700">
            <a:noFill/>
          </a:ln>
        </p:spPr>
        <p:txBody>
          <a:bodyPr wrap="none" lIns="0" tIns="0" rIns="0" bIns="0" rtlCol="0">
            <a:spAutoFit/>
          </a:bodyPr>
          <a:lstStyle/>
          <a:p>
            <a:pPr algn="l"/>
            <a:r>
              <a:rPr lang="en-US" sz="766"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sp>
        <p:nvSpPr>
          <p:cNvPr id="22" name="Subtitle 2">
            <a:extLst>
              <a:ext uri="{FF2B5EF4-FFF2-40B4-BE49-F238E27FC236}">
                <a16:creationId xmlns:a16="http://schemas.microsoft.com/office/drawing/2014/main" id="{5D859A0A-927A-D649-97A9-7C58181CC5A3}"/>
              </a:ext>
            </a:extLst>
          </p:cNvPr>
          <p:cNvSpPr>
            <a:spLocks noGrp="1"/>
          </p:cNvSpPr>
          <p:nvPr>
            <p:ph type="subTitle" idx="1" hasCustomPrompt="1"/>
          </p:nvPr>
        </p:nvSpPr>
        <p:spPr>
          <a:xfrm>
            <a:off x="4095080" y="2922658"/>
            <a:ext cx="6223809" cy="430167"/>
          </a:xfrm>
        </p:spPr>
        <p:txBody>
          <a:bodyPr vert="horz" lIns="0" tIns="0" rIns="0" bIns="0" rtlCol="0" anchor="t" anchorCtr="0">
            <a:noAutofit/>
          </a:bodyPr>
          <a:lstStyle>
            <a:lvl1pPr>
              <a:lnSpc>
                <a:spcPct val="100000"/>
              </a:lnSpc>
              <a:defRPr lang="en-US" sz="1465" b="1" cap="none" dirty="0">
                <a:solidFill>
                  <a:schemeClr val="tx2"/>
                </a:solidFill>
                <a:latin typeface="Arial" panose="020B0604020202020204" pitchFamily="34" charset="0"/>
                <a:ea typeface="+mj-ea"/>
                <a:cs typeface="Arial" panose="020B0604020202020204" pitchFamily="34" charset="0"/>
              </a:defRPr>
            </a:lvl1pPr>
          </a:lstStyle>
          <a:p>
            <a:pPr lvl="0">
              <a:lnSpc>
                <a:spcPct val="90000"/>
              </a:lnSpc>
              <a:spcBef>
                <a:spcPct val="0"/>
              </a:spcBef>
            </a:pPr>
            <a:r>
              <a:rPr lang="en-US" dirty="0"/>
              <a:t>Click to edit Master Subtitle style</a:t>
            </a:r>
          </a:p>
        </p:txBody>
      </p:sp>
      <p:sp>
        <p:nvSpPr>
          <p:cNvPr id="30" name="Text Placeholder 8">
            <a:extLst>
              <a:ext uri="{FF2B5EF4-FFF2-40B4-BE49-F238E27FC236}">
                <a16:creationId xmlns:a16="http://schemas.microsoft.com/office/drawing/2014/main" id="{CEE604F4-1FAA-434F-99A2-D6ED2B269970}"/>
              </a:ext>
            </a:extLst>
          </p:cNvPr>
          <p:cNvSpPr>
            <a:spLocks noGrp="1"/>
          </p:cNvSpPr>
          <p:nvPr>
            <p:ph type="body" sz="quarter" idx="15"/>
          </p:nvPr>
        </p:nvSpPr>
        <p:spPr>
          <a:xfrm>
            <a:off x="298681" y="5769001"/>
            <a:ext cx="1316736" cy="133246"/>
          </a:xfrm>
        </p:spPr>
        <p:txBody>
          <a:bodyPr anchor="t" anchorCtr="0">
            <a:spAutoFit/>
          </a:bodyPr>
          <a:lstStyle>
            <a:lvl1pPr>
              <a:spcBef>
                <a:spcPts val="0"/>
              </a:spcBef>
              <a:spcAft>
                <a:spcPts val="133"/>
              </a:spcAft>
              <a:defRPr sz="866" b="1">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1" name="Text Placeholder 8">
            <a:extLst>
              <a:ext uri="{FF2B5EF4-FFF2-40B4-BE49-F238E27FC236}">
                <a16:creationId xmlns:a16="http://schemas.microsoft.com/office/drawing/2014/main" id="{1C7CCC16-DF6A-45F4-ABFF-D492527483DD}"/>
              </a:ext>
            </a:extLst>
          </p:cNvPr>
          <p:cNvSpPr>
            <a:spLocks noGrp="1"/>
          </p:cNvSpPr>
          <p:nvPr>
            <p:ph type="body" sz="quarter" idx="16"/>
          </p:nvPr>
        </p:nvSpPr>
        <p:spPr>
          <a:xfrm>
            <a:off x="298681" y="5924473"/>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2" name="Text Placeholder 8">
            <a:extLst>
              <a:ext uri="{FF2B5EF4-FFF2-40B4-BE49-F238E27FC236}">
                <a16:creationId xmlns:a16="http://schemas.microsoft.com/office/drawing/2014/main" id="{DE2DDF59-1FC7-45BB-BD24-93D261442951}"/>
              </a:ext>
            </a:extLst>
          </p:cNvPr>
          <p:cNvSpPr>
            <a:spLocks noGrp="1"/>
          </p:cNvSpPr>
          <p:nvPr>
            <p:ph type="body" sz="quarter" idx="17"/>
          </p:nvPr>
        </p:nvSpPr>
        <p:spPr>
          <a:xfrm>
            <a:off x="298681" y="6069696"/>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3" name="Text Placeholder 8">
            <a:extLst>
              <a:ext uri="{FF2B5EF4-FFF2-40B4-BE49-F238E27FC236}">
                <a16:creationId xmlns:a16="http://schemas.microsoft.com/office/drawing/2014/main" id="{B06934D2-3F1E-47F5-99F9-33A47897D026}"/>
              </a:ext>
            </a:extLst>
          </p:cNvPr>
          <p:cNvSpPr>
            <a:spLocks noGrp="1"/>
          </p:cNvSpPr>
          <p:nvPr>
            <p:ph type="body" sz="quarter" idx="18"/>
          </p:nvPr>
        </p:nvSpPr>
        <p:spPr>
          <a:xfrm>
            <a:off x="298681" y="6214917"/>
            <a:ext cx="1316736" cy="122997"/>
          </a:xfrm>
        </p:spPr>
        <p:txBody>
          <a:bodyPr anchor="t" anchorCtr="0">
            <a:spAutoFit/>
          </a:bodyPr>
          <a:lstStyle>
            <a:lvl1pPr>
              <a:spcBef>
                <a:spcPts val="0"/>
              </a:spcBef>
              <a:spcAft>
                <a:spcPts val="133"/>
              </a:spcAft>
              <a:defRPr sz="799" b="0">
                <a:solidFill>
                  <a:schemeClr val="bg1"/>
                </a:solidFill>
              </a:defRPr>
            </a:lvl1pPr>
            <a:lvl2pPr marL="0" indent="0">
              <a:spcAft>
                <a:spcPts val="0"/>
              </a:spcAft>
              <a:buFontTx/>
              <a:buNone/>
              <a:tabLst/>
              <a:defRPr sz="1199">
                <a:solidFill>
                  <a:schemeClr val="bg1"/>
                </a:solidFill>
              </a:defRPr>
            </a:lvl2pPr>
            <a:lvl3pPr marL="398094" indent="0">
              <a:buNone/>
              <a:defRPr sz="266"/>
            </a:lvl3pPr>
            <a:lvl4pPr>
              <a:defRPr sz="133"/>
            </a:lvl4pPr>
            <a:lvl5pPr>
              <a:defRPr sz="133"/>
            </a:lvl5pPr>
          </a:lstStyle>
          <a:p>
            <a:pPr lvl="0"/>
            <a:r>
              <a:rPr lang="en-US" dirty="0"/>
              <a:t>Click to edit</a:t>
            </a:r>
          </a:p>
        </p:txBody>
      </p:sp>
      <p:sp>
        <p:nvSpPr>
          <p:cNvPr id="34" name="TextBox 33">
            <a:extLst>
              <a:ext uri="{FF2B5EF4-FFF2-40B4-BE49-F238E27FC236}">
                <a16:creationId xmlns:a16="http://schemas.microsoft.com/office/drawing/2014/main" id="{452128AB-2FF0-4FF1-86F0-17B61C89B602}"/>
              </a:ext>
            </a:extLst>
          </p:cNvPr>
          <p:cNvSpPr txBox="1"/>
          <p:nvPr userDrawn="1"/>
        </p:nvSpPr>
        <p:spPr>
          <a:xfrm>
            <a:off x="298681" y="6514030"/>
            <a:ext cx="1316736" cy="82010"/>
          </a:xfrm>
          <a:prstGeom prst="rect">
            <a:avLst/>
          </a:prstGeom>
          <a:noFill/>
          <a:ln w="12700">
            <a:noFill/>
          </a:ln>
        </p:spPr>
        <p:txBody>
          <a:bodyPr wrap="square" lIns="0" tIns="0" rIns="0" bIns="0" rtlCol="0">
            <a:spAutoFit/>
          </a:bodyPr>
          <a:lstStyle/>
          <a:p>
            <a:pPr lvl="0"/>
            <a:r>
              <a:rPr lang="en-US" sz="533" dirty="0">
                <a:solidFill>
                  <a:schemeClr val="bg1"/>
                </a:solidFill>
              </a:rPr>
              <a:t>*Age at time of photo shoot.</a:t>
            </a:r>
          </a:p>
        </p:txBody>
      </p:sp>
      <p:grpSp>
        <p:nvGrpSpPr>
          <p:cNvPr id="18" name="Group 17">
            <a:extLst>
              <a:ext uri="{FF2B5EF4-FFF2-40B4-BE49-F238E27FC236}">
                <a16:creationId xmlns:a16="http://schemas.microsoft.com/office/drawing/2014/main" id="{C7CC393B-3181-CDF9-3074-19DF293E2FDB}"/>
              </a:ext>
            </a:extLst>
          </p:cNvPr>
          <p:cNvGrpSpPr/>
          <p:nvPr userDrawn="1"/>
        </p:nvGrpSpPr>
        <p:grpSpPr>
          <a:xfrm>
            <a:off x="-5" y="6764982"/>
            <a:ext cx="12192004" cy="91440"/>
            <a:chOff x="-4" y="5045891"/>
            <a:chExt cx="9144003" cy="102377"/>
          </a:xfrm>
        </p:grpSpPr>
        <p:sp>
          <p:nvSpPr>
            <p:cNvPr id="20" name="Rectangle 19">
              <a:extLst>
                <a:ext uri="{FF2B5EF4-FFF2-40B4-BE49-F238E27FC236}">
                  <a16:creationId xmlns:a16="http://schemas.microsoft.com/office/drawing/2014/main" id="{AAA51B54-55C2-DE39-A092-242BB90EA3CB}"/>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1" name="Rectangle 20">
              <a:extLst>
                <a:ext uri="{FF2B5EF4-FFF2-40B4-BE49-F238E27FC236}">
                  <a16:creationId xmlns:a16="http://schemas.microsoft.com/office/drawing/2014/main" id="{8137EF8D-7584-70AB-D465-173175CB867F}"/>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3" name="Rectangle 22">
              <a:extLst>
                <a:ext uri="{FF2B5EF4-FFF2-40B4-BE49-F238E27FC236}">
                  <a16:creationId xmlns:a16="http://schemas.microsoft.com/office/drawing/2014/main" id="{0244B5BF-A288-56BE-5743-DB55C4752F41}"/>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4" name="Rectangle 23">
              <a:extLst>
                <a:ext uri="{FF2B5EF4-FFF2-40B4-BE49-F238E27FC236}">
                  <a16:creationId xmlns:a16="http://schemas.microsoft.com/office/drawing/2014/main" id="{1210D7B1-9EA8-B114-35C5-BA0E979DB22A}"/>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5" name="Rectangle 24">
              <a:extLst>
                <a:ext uri="{FF2B5EF4-FFF2-40B4-BE49-F238E27FC236}">
                  <a16:creationId xmlns:a16="http://schemas.microsoft.com/office/drawing/2014/main" id="{ABE338E5-2FB9-2DFE-9122-109D334ED23A}"/>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Tree>
    <p:extLst>
      <p:ext uri="{BB962C8B-B14F-4D97-AF65-F5344CB8AC3E}">
        <p14:creationId xmlns:p14="http://schemas.microsoft.com/office/powerpoint/2010/main" val="1326074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1C54A9-7CF7-8343-B44B-CA2ED91D3861}"/>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A77A115-3EE4-9D49-81E1-982AEAE5F46F}"/>
              </a:ext>
            </a:extLst>
          </p:cNvPr>
          <p:cNvSpPr>
            <a:spLocks noGrp="1"/>
          </p:cNvSpPr>
          <p:nvPr>
            <p:ph type="body" sz="quarter" idx="10"/>
          </p:nvPr>
        </p:nvSpPr>
        <p:spPr>
          <a:xfrm>
            <a:off x="736600" y="1396693"/>
            <a:ext cx="10767485" cy="204994"/>
          </a:xfrm>
        </p:spPr>
        <p:txBody>
          <a:bodyPr anchor="b" anchorCtr="0">
            <a:spAutoFit/>
          </a:bodyPr>
          <a:lstStyle>
            <a:lvl1pPr>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73430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1C54A9-7CF7-8343-B44B-CA2ED91D3861}"/>
              </a:ext>
            </a:extLst>
          </p:cNvPr>
          <p:cNvSpPr>
            <a:spLocks noGrp="1"/>
          </p:cNvSpPr>
          <p:nvPr>
            <p:ph idx="1"/>
          </p:nvPr>
        </p:nvSpPr>
        <p:spPr>
          <a:xfrm>
            <a:off x="746743" y="1396695"/>
            <a:ext cx="10757341" cy="45215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6799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E63148E-4A23-2F4C-9146-471993052C10}"/>
              </a:ext>
            </a:extLst>
          </p:cNvPr>
          <p:cNvSpPr>
            <a:spLocks noGrp="1"/>
          </p:cNvSpPr>
          <p:nvPr>
            <p:ph type="title"/>
          </p:nvPr>
        </p:nvSpPr>
        <p:spPr>
          <a:xfrm>
            <a:off x="746743" y="255927"/>
            <a:ext cx="9391437" cy="651495"/>
          </a:xfrm>
        </p:spPr>
        <p:txBody>
          <a:bodyPr/>
          <a:lstStyle/>
          <a:p>
            <a:r>
              <a:rPr lang="en-US"/>
              <a:t>Click to edit Master title style</a:t>
            </a:r>
          </a:p>
        </p:txBody>
      </p:sp>
      <p:sp>
        <p:nvSpPr>
          <p:cNvPr id="13" name="Content Placeholder 2">
            <a:extLst>
              <a:ext uri="{FF2B5EF4-FFF2-40B4-BE49-F238E27FC236}">
                <a16:creationId xmlns:a16="http://schemas.microsoft.com/office/drawing/2014/main" id="{2D404FBD-6F8D-0340-B5B7-4C4CEE6C7D5C}"/>
              </a:ext>
            </a:extLst>
          </p:cNvPr>
          <p:cNvSpPr>
            <a:spLocks noGrp="1"/>
          </p:cNvSpPr>
          <p:nvPr>
            <p:ph idx="1"/>
          </p:nvPr>
        </p:nvSpPr>
        <p:spPr>
          <a:xfrm>
            <a:off x="746743" y="1746856"/>
            <a:ext cx="4962144" cy="4171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4">
            <a:extLst>
              <a:ext uri="{FF2B5EF4-FFF2-40B4-BE49-F238E27FC236}">
                <a16:creationId xmlns:a16="http://schemas.microsoft.com/office/drawing/2014/main" id="{6DAE9327-B00C-834F-B470-0FCA59C4868F}"/>
              </a:ext>
            </a:extLst>
          </p:cNvPr>
          <p:cNvSpPr>
            <a:spLocks noGrp="1"/>
          </p:cNvSpPr>
          <p:nvPr>
            <p:ph type="body" sz="quarter" idx="10"/>
          </p:nvPr>
        </p:nvSpPr>
        <p:spPr>
          <a:xfrm>
            <a:off x="736600" y="1396693"/>
            <a:ext cx="4962144" cy="204994"/>
          </a:xfrm>
        </p:spPr>
        <p:txBody>
          <a:bodyPr wrap="square" anchor="b" anchorCtr="0">
            <a:spAutoFit/>
          </a:bodyPr>
          <a:lstStyle>
            <a:lvl1pPr>
              <a:defRPr b="1">
                <a:solidFill>
                  <a:schemeClr val="tx2"/>
                </a:solidFill>
              </a:defRPr>
            </a:lvl1pPr>
          </a:lstStyle>
          <a:p>
            <a:pPr lvl="0"/>
            <a:r>
              <a:rPr lang="en-US" dirty="0"/>
              <a:t>Click to edit Master text styles</a:t>
            </a:r>
          </a:p>
        </p:txBody>
      </p:sp>
      <p:sp>
        <p:nvSpPr>
          <p:cNvPr id="15" name="Content Placeholder 2">
            <a:extLst>
              <a:ext uri="{FF2B5EF4-FFF2-40B4-BE49-F238E27FC236}">
                <a16:creationId xmlns:a16="http://schemas.microsoft.com/office/drawing/2014/main" id="{90B33717-092C-0448-B0C2-E1952AD4ACD6}"/>
              </a:ext>
            </a:extLst>
          </p:cNvPr>
          <p:cNvSpPr>
            <a:spLocks noGrp="1"/>
          </p:cNvSpPr>
          <p:nvPr>
            <p:ph idx="11"/>
          </p:nvPr>
        </p:nvSpPr>
        <p:spPr>
          <a:xfrm>
            <a:off x="6544415" y="1746856"/>
            <a:ext cx="4962144" cy="4171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a:extLst>
              <a:ext uri="{FF2B5EF4-FFF2-40B4-BE49-F238E27FC236}">
                <a16:creationId xmlns:a16="http://schemas.microsoft.com/office/drawing/2014/main" id="{F9A04357-BF0C-5A44-B23C-96385B10CC18}"/>
              </a:ext>
            </a:extLst>
          </p:cNvPr>
          <p:cNvSpPr>
            <a:spLocks noGrp="1"/>
          </p:cNvSpPr>
          <p:nvPr>
            <p:ph type="body" sz="quarter" idx="12"/>
          </p:nvPr>
        </p:nvSpPr>
        <p:spPr>
          <a:xfrm>
            <a:off x="6544415" y="1396693"/>
            <a:ext cx="4956391" cy="204994"/>
          </a:xfrm>
        </p:spPr>
        <p:txBody>
          <a:bodyPr wrap="square" anchor="b" anchorCtr="0">
            <a:spAutoFit/>
          </a:bodyPr>
          <a:lstStyle>
            <a:lvl1pPr>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39487236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_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1C54A9-7CF7-8343-B44B-CA2ED91D3861}"/>
              </a:ext>
            </a:extLst>
          </p:cNvPr>
          <p:cNvSpPr>
            <a:spLocks noGrp="1"/>
          </p:cNvSpPr>
          <p:nvPr>
            <p:ph idx="1"/>
          </p:nvPr>
        </p:nvSpPr>
        <p:spPr/>
        <p:txBody>
          <a:bodyPr numCol="2" spcCol="4572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A77A115-3EE4-9D49-81E1-982AEAE5F46F}"/>
              </a:ext>
            </a:extLst>
          </p:cNvPr>
          <p:cNvSpPr>
            <a:spLocks noGrp="1"/>
          </p:cNvSpPr>
          <p:nvPr>
            <p:ph type="body" sz="quarter" idx="10"/>
          </p:nvPr>
        </p:nvSpPr>
        <p:spPr>
          <a:xfrm>
            <a:off x="736600" y="1396693"/>
            <a:ext cx="10767485" cy="204994"/>
          </a:xfrm>
        </p:spPr>
        <p:txBody>
          <a:bodyPr anchor="b" anchorCtr="0">
            <a:spAutoFit/>
          </a:bodyPr>
          <a:lstStyle>
            <a:lvl1pPr>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716585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_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21C54A9-7CF7-8343-B44B-CA2ED91D3861}"/>
              </a:ext>
            </a:extLst>
          </p:cNvPr>
          <p:cNvSpPr>
            <a:spLocks noGrp="1"/>
          </p:cNvSpPr>
          <p:nvPr>
            <p:ph idx="1"/>
          </p:nvPr>
        </p:nvSpPr>
        <p:spPr>
          <a:xfrm>
            <a:off x="746743" y="1396694"/>
            <a:ext cx="10757341" cy="982531"/>
          </a:xfrm>
        </p:spPr>
        <p:txBody>
          <a:bodyPr numCol="1" spc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4">
            <a:extLst>
              <a:ext uri="{FF2B5EF4-FFF2-40B4-BE49-F238E27FC236}">
                <a16:creationId xmlns:a16="http://schemas.microsoft.com/office/drawing/2014/main" id="{2A1BC20C-1987-3E45-8CC1-5A302C95A8CE}"/>
              </a:ext>
            </a:extLst>
          </p:cNvPr>
          <p:cNvSpPr>
            <a:spLocks noGrp="1"/>
          </p:cNvSpPr>
          <p:nvPr>
            <p:ph type="body" sz="quarter" idx="10"/>
          </p:nvPr>
        </p:nvSpPr>
        <p:spPr>
          <a:xfrm>
            <a:off x="2115320" y="2754805"/>
            <a:ext cx="3340608" cy="352986"/>
          </a:xfrm>
        </p:spPr>
        <p:txBody>
          <a:bodyPr wrap="square" anchor="t" anchorCtr="0">
            <a:noAutofit/>
          </a:bodyPr>
          <a:lstStyle>
            <a:lvl1pPr>
              <a:defRPr b="1">
                <a:solidFill>
                  <a:schemeClr val="tx2"/>
                </a:solidFill>
              </a:defRPr>
            </a:lvl1pPr>
          </a:lstStyle>
          <a:p>
            <a:pPr lvl="0"/>
            <a:r>
              <a:rPr lang="en-US" dirty="0"/>
              <a:t>Click to edit Master text styles</a:t>
            </a:r>
          </a:p>
        </p:txBody>
      </p:sp>
      <p:sp>
        <p:nvSpPr>
          <p:cNvPr id="9" name="Content Placeholder 2">
            <a:extLst>
              <a:ext uri="{FF2B5EF4-FFF2-40B4-BE49-F238E27FC236}">
                <a16:creationId xmlns:a16="http://schemas.microsoft.com/office/drawing/2014/main" id="{63099FDF-D54F-EF43-9999-A115C36006E2}"/>
              </a:ext>
            </a:extLst>
          </p:cNvPr>
          <p:cNvSpPr>
            <a:spLocks noGrp="1"/>
          </p:cNvSpPr>
          <p:nvPr>
            <p:ph idx="11"/>
          </p:nvPr>
        </p:nvSpPr>
        <p:spPr>
          <a:xfrm>
            <a:off x="2115320" y="3130560"/>
            <a:ext cx="3342595" cy="774102"/>
          </a:xfrm>
        </p:spPr>
        <p:txBody>
          <a:bodyPr/>
          <a:lstStyle>
            <a:lvl3pPr marL="251650" indent="0">
              <a:buNone/>
              <a:defRPr/>
            </a:lvl3pPr>
            <a:lvl4pPr marL="448318" indent="0">
              <a:buNone/>
              <a:defRPr/>
            </a:lvl4pPr>
          </a:lstStyle>
          <a:p>
            <a:pPr lvl="0"/>
            <a:r>
              <a:rPr lang="en-US" dirty="0"/>
              <a:t>Click to edit Master text styles</a:t>
            </a:r>
          </a:p>
          <a:p>
            <a:pPr lvl="1"/>
            <a:r>
              <a:rPr lang="en-US" dirty="0"/>
              <a:t>Second level</a:t>
            </a:r>
          </a:p>
        </p:txBody>
      </p:sp>
      <p:sp>
        <p:nvSpPr>
          <p:cNvPr id="10" name="Text Placeholder 4">
            <a:extLst>
              <a:ext uri="{FF2B5EF4-FFF2-40B4-BE49-F238E27FC236}">
                <a16:creationId xmlns:a16="http://schemas.microsoft.com/office/drawing/2014/main" id="{8D260DCD-0E6B-5D47-A760-FDBC47DBB312}"/>
              </a:ext>
            </a:extLst>
          </p:cNvPr>
          <p:cNvSpPr>
            <a:spLocks noGrp="1"/>
          </p:cNvSpPr>
          <p:nvPr>
            <p:ph type="body" sz="quarter" idx="12"/>
          </p:nvPr>
        </p:nvSpPr>
        <p:spPr>
          <a:xfrm>
            <a:off x="2115320" y="3966798"/>
            <a:ext cx="3340608" cy="352986"/>
          </a:xfrm>
        </p:spPr>
        <p:txBody>
          <a:bodyPr wrap="square" anchor="t" anchorCtr="0">
            <a:noAutofit/>
          </a:bodyPr>
          <a:lstStyle>
            <a:lvl1pPr>
              <a:defRPr b="1">
                <a:solidFill>
                  <a:schemeClr val="tx2"/>
                </a:solidFill>
              </a:defRPr>
            </a:lvl1pPr>
          </a:lstStyle>
          <a:p>
            <a:pPr lvl="0"/>
            <a:r>
              <a:rPr lang="en-US" dirty="0"/>
              <a:t>Click to edit Master text styles</a:t>
            </a:r>
          </a:p>
        </p:txBody>
      </p:sp>
      <p:sp>
        <p:nvSpPr>
          <p:cNvPr id="11" name="Content Placeholder 2">
            <a:extLst>
              <a:ext uri="{FF2B5EF4-FFF2-40B4-BE49-F238E27FC236}">
                <a16:creationId xmlns:a16="http://schemas.microsoft.com/office/drawing/2014/main" id="{3BA4D1B9-700A-5640-87CE-A21B4BA6086D}"/>
              </a:ext>
            </a:extLst>
          </p:cNvPr>
          <p:cNvSpPr>
            <a:spLocks noGrp="1"/>
          </p:cNvSpPr>
          <p:nvPr>
            <p:ph idx="13"/>
          </p:nvPr>
        </p:nvSpPr>
        <p:spPr>
          <a:xfrm>
            <a:off x="2115320" y="4342553"/>
            <a:ext cx="3342595" cy="774102"/>
          </a:xfrm>
        </p:spPr>
        <p:txBody>
          <a:bodyPr/>
          <a:lstStyle>
            <a:lvl3pPr marL="251650" indent="0">
              <a:buNone/>
              <a:defRPr/>
            </a:lvl3pPr>
            <a:lvl4pPr marL="448318" indent="0">
              <a:buNone/>
              <a:defRPr/>
            </a:lvl4pPr>
          </a:lstStyle>
          <a:p>
            <a:pPr lvl="0"/>
            <a:r>
              <a:rPr lang="en-US" dirty="0"/>
              <a:t>Click to edit Master text styles</a:t>
            </a:r>
          </a:p>
          <a:p>
            <a:pPr lvl="1"/>
            <a:r>
              <a:rPr lang="en-US" dirty="0"/>
              <a:t>Second level</a:t>
            </a:r>
          </a:p>
        </p:txBody>
      </p:sp>
      <p:sp>
        <p:nvSpPr>
          <p:cNvPr id="12" name="Text Placeholder 4">
            <a:extLst>
              <a:ext uri="{FF2B5EF4-FFF2-40B4-BE49-F238E27FC236}">
                <a16:creationId xmlns:a16="http://schemas.microsoft.com/office/drawing/2014/main" id="{DA54F029-E1E1-CC42-B20B-D70D68BD1F4D}"/>
              </a:ext>
            </a:extLst>
          </p:cNvPr>
          <p:cNvSpPr>
            <a:spLocks noGrp="1"/>
          </p:cNvSpPr>
          <p:nvPr>
            <p:ph type="body" sz="quarter" idx="14"/>
          </p:nvPr>
        </p:nvSpPr>
        <p:spPr>
          <a:xfrm>
            <a:off x="7495611" y="2754805"/>
            <a:ext cx="3340608" cy="352986"/>
          </a:xfrm>
        </p:spPr>
        <p:txBody>
          <a:bodyPr wrap="square" anchor="t" anchorCtr="0">
            <a:noAutofit/>
          </a:bodyPr>
          <a:lstStyle>
            <a:lvl1pPr>
              <a:defRPr b="1">
                <a:solidFill>
                  <a:schemeClr val="tx2"/>
                </a:solidFill>
              </a:defRPr>
            </a:lvl1pPr>
          </a:lstStyle>
          <a:p>
            <a:pPr lvl="0"/>
            <a:r>
              <a:rPr lang="en-US" dirty="0"/>
              <a:t>Click to edit Master text styles</a:t>
            </a:r>
          </a:p>
        </p:txBody>
      </p:sp>
      <p:sp>
        <p:nvSpPr>
          <p:cNvPr id="13" name="Content Placeholder 2">
            <a:extLst>
              <a:ext uri="{FF2B5EF4-FFF2-40B4-BE49-F238E27FC236}">
                <a16:creationId xmlns:a16="http://schemas.microsoft.com/office/drawing/2014/main" id="{40066AB9-3A98-084E-916B-49EEBA7CB5C1}"/>
              </a:ext>
            </a:extLst>
          </p:cNvPr>
          <p:cNvSpPr>
            <a:spLocks noGrp="1"/>
          </p:cNvSpPr>
          <p:nvPr>
            <p:ph idx="15"/>
          </p:nvPr>
        </p:nvSpPr>
        <p:spPr>
          <a:xfrm>
            <a:off x="7495611" y="3130560"/>
            <a:ext cx="3342595" cy="774102"/>
          </a:xfrm>
        </p:spPr>
        <p:txBody>
          <a:bodyPr/>
          <a:lstStyle>
            <a:lvl3pPr marL="251650" indent="0">
              <a:buNone/>
              <a:defRPr/>
            </a:lvl3pPr>
            <a:lvl4pPr marL="448318" indent="0">
              <a:buNone/>
              <a:defRPr/>
            </a:lvl4pPr>
          </a:lstStyle>
          <a:p>
            <a:pPr lvl="0"/>
            <a:r>
              <a:rPr lang="en-US" dirty="0"/>
              <a:t>Click to edit Master text styles</a:t>
            </a:r>
          </a:p>
          <a:p>
            <a:pPr lvl="1"/>
            <a:r>
              <a:rPr lang="en-US" dirty="0"/>
              <a:t>Second level</a:t>
            </a:r>
          </a:p>
        </p:txBody>
      </p:sp>
      <p:sp>
        <p:nvSpPr>
          <p:cNvPr id="14" name="Text Placeholder 4">
            <a:extLst>
              <a:ext uri="{FF2B5EF4-FFF2-40B4-BE49-F238E27FC236}">
                <a16:creationId xmlns:a16="http://schemas.microsoft.com/office/drawing/2014/main" id="{AA4219E7-A279-C045-928C-A974CFA04945}"/>
              </a:ext>
            </a:extLst>
          </p:cNvPr>
          <p:cNvSpPr>
            <a:spLocks noGrp="1"/>
          </p:cNvSpPr>
          <p:nvPr>
            <p:ph type="body" sz="quarter" idx="16"/>
          </p:nvPr>
        </p:nvSpPr>
        <p:spPr>
          <a:xfrm>
            <a:off x="7495611" y="3966798"/>
            <a:ext cx="3340608" cy="352986"/>
          </a:xfrm>
        </p:spPr>
        <p:txBody>
          <a:bodyPr wrap="square" anchor="t" anchorCtr="0">
            <a:noAutofit/>
          </a:bodyPr>
          <a:lstStyle>
            <a:lvl1pPr>
              <a:defRPr b="1">
                <a:solidFill>
                  <a:schemeClr val="tx2"/>
                </a:solidFill>
              </a:defRPr>
            </a:lvl1pPr>
          </a:lstStyle>
          <a:p>
            <a:pPr lvl="0"/>
            <a:r>
              <a:rPr lang="en-US" dirty="0"/>
              <a:t>Click to edit Master text styles</a:t>
            </a:r>
          </a:p>
        </p:txBody>
      </p:sp>
      <p:sp>
        <p:nvSpPr>
          <p:cNvPr id="15" name="Content Placeholder 2">
            <a:extLst>
              <a:ext uri="{FF2B5EF4-FFF2-40B4-BE49-F238E27FC236}">
                <a16:creationId xmlns:a16="http://schemas.microsoft.com/office/drawing/2014/main" id="{CE389798-91F1-EC42-A22B-D5454A5D9E57}"/>
              </a:ext>
            </a:extLst>
          </p:cNvPr>
          <p:cNvSpPr>
            <a:spLocks noGrp="1"/>
          </p:cNvSpPr>
          <p:nvPr>
            <p:ph idx="17"/>
          </p:nvPr>
        </p:nvSpPr>
        <p:spPr>
          <a:xfrm>
            <a:off x="7495611" y="4342553"/>
            <a:ext cx="3342595" cy="774102"/>
          </a:xfrm>
        </p:spPr>
        <p:txBody>
          <a:bodyPr/>
          <a:lstStyle>
            <a:lvl3pPr marL="251650" indent="0">
              <a:buNone/>
              <a:defRPr/>
            </a:lvl3pPr>
            <a:lvl4pPr marL="448318" indent="0">
              <a:buNone/>
              <a:defRPr/>
            </a:lvl4pPr>
          </a:lstStyle>
          <a:p>
            <a:pPr lvl="0"/>
            <a:r>
              <a:rPr lang="en-US" dirty="0"/>
              <a:t>Click to edit Master text styles</a:t>
            </a:r>
          </a:p>
          <a:p>
            <a:pPr lvl="1"/>
            <a:r>
              <a:rPr lang="en-US" dirty="0"/>
              <a:t>Second level</a:t>
            </a:r>
          </a:p>
        </p:txBody>
      </p:sp>
      <p:sp>
        <p:nvSpPr>
          <p:cNvPr id="17" name="Picture Placeholder 16">
            <a:extLst>
              <a:ext uri="{FF2B5EF4-FFF2-40B4-BE49-F238E27FC236}">
                <a16:creationId xmlns:a16="http://schemas.microsoft.com/office/drawing/2014/main" id="{66F41625-7CBD-DA41-B8F8-5372BAD5DFE4}"/>
              </a:ext>
            </a:extLst>
          </p:cNvPr>
          <p:cNvSpPr>
            <a:spLocks noGrp="1"/>
          </p:cNvSpPr>
          <p:nvPr>
            <p:ph type="pic" sz="quarter" idx="18"/>
          </p:nvPr>
        </p:nvSpPr>
        <p:spPr>
          <a:xfrm>
            <a:off x="1105256" y="2641053"/>
            <a:ext cx="924240" cy="921541"/>
          </a:xfrm>
          <a:prstGeom prst="ellipse">
            <a:avLst/>
          </a:prstGeom>
        </p:spPr>
        <p:txBody>
          <a:bodyPr/>
          <a:lstStyle/>
          <a:p>
            <a:endParaRPr lang="en-US" dirty="0"/>
          </a:p>
        </p:txBody>
      </p:sp>
      <p:sp>
        <p:nvSpPr>
          <p:cNvPr id="21" name="Picture Placeholder 16">
            <a:extLst>
              <a:ext uri="{FF2B5EF4-FFF2-40B4-BE49-F238E27FC236}">
                <a16:creationId xmlns:a16="http://schemas.microsoft.com/office/drawing/2014/main" id="{889CD08F-1364-B047-AEB9-A689DA0512A3}"/>
              </a:ext>
            </a:extLst>
          </p:cNvPr>
          <p:cNvSpPr>
            <a:spLocks noGrp="1"/>
          </p:cNvSpPr>
          <p:nvPr>
            <p:ph type="pic" sz="quarter" idx="19"/>
          </p:nvPr>
        </p:nvSpPr>
        <p:spPr>
          <a:xfrm>
            <a:off x="1105256" y="3835023"/>
            <a:ext cx="924240" cy="921541"/>
          </a:xfrm>
          <a:prstGeom prst="ellipse">
            <a:avLst/>
          </a:prstGeom>
        </p:spPr>
        <p:txBody>
          <a:bodyPr/>
          <a:lstStyle/>
          <a:p>
            <a:endParaRPr lang="en-US" dirty="0"/>
          </a:p>
        </p:txBody>
      </p:sp>
      <p:sp>
        <p:nvSpPr>
          <p:cNvPr id="22" name="Picture Placeholder 16">
            <a:extLst>
              <a:ext uri="{FF2B5EF4-FFF2-40B4-BE49-F238E27FC236}">
                <a16:creationId xmlns:a16="http://schemas.microsoft.com/office/drawing/2014/main" id="{299F61E3-2D6C-654C-B184-E1D5567760EC}"/>
              </a:ext>
            </a:extLst>
          </p:cNvPr>
          <p:cNvSpPr>
            <a:spLocks noGrp="1"/>
          </p:cNvSpPr>
          <p:nvPr>
            <p:ph type="pic" sz="quarter" idx="20"/>
          </p:nvPr>
        </p:nvSpPr>
        <p:spPr>
          <a:xfrm>
            <a:off x="6491956" y="2641053"/>
            <a:ext cx="924240" cy="921541"/>
          </a:xfrm>
          <a:prstGeom prst="ellipse">
            <a:avLst/>
          </a:prstGeom>
        </p:spPr>
        <p:txBody>
          <a:bodyPr/>
          <a:lstStyle/>
          <a:p>
            <a:endParaRPr lang="en-US" dirty="0"/>
          </a:p>
        </p:txBody>
      </p:sp>
      <p:sp>
        <p:nvSpPr>
          <p:cNvPr id="23" name="Picture Placeholder 16">
            <a:extLst>
              <a:ext uri="{FF2B5EF4-FFF2-40B4-BE49-F238E27FC236}">
                <a16:creationId xmlns:a16="http://schemas.microsoft.com/office/drawing/2014/main" id="{F6BC331C-CDFF-BA46-86A3-7D9C22715F52}"/>
              </a:ext>
            </a:extLst>
          </p:cNvPr>
          <p:cNvSpPr>
            <a:spLocks noGrp="1"/>
          </p:cNvSpPr>
          <p:nvPr>
            <p:ph type="pic" sz="quarter" idx="21"/>
          </p:nvPr>
        </p:nvSpPr>
        <p:spPr>
          <a:xfrm>
            <a:off x="6491956" y="3835023"/>
            <a:ext cx="924240" cy="921541"/>
          </a:xfrm>
          <a:prstGeom prst="ellipse">
            <a:avLst/>
          </a:prstGeom>
        </p:spPr>
        <p:txBody>
          <a:bodyPr/>
          <a:lstStyle/>
          <a:p>
            <a:endParaRPr lang="en-US" dirty="0"/>
          </a:p>
        </p:txBody>
      </p:sp>
    </p:spTree>
    <p:extLst>
      <p:ext uri="{BB962C8B-B14F-4D97-AF65-F5344CB8AC3E}">
        <p14:creationId xmlns:p14="http://schemas.microsoft.com/office/powerpoint/2010/main" val="1392952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4356B27-C208-9836-7420-C36F33897FEB}"/>
              </a:ext>
            </a:extLst>
          </p:cNvPr>
          <p:cNvSpPr>
            <a:spLocks noGrp="1"/>
          </p:cNvSpPr>
          <p:nvPr>
            <p:ph type="title"/>
          </p:nvPr>
        </p:nvSpPr>
        <p:spPr>
          <a:xfrm>
            <a:off x="166013" y="73025"/>
            <a:ext cx="10515600" cy="498475"/>
          </a:xfrm>
        </p:spPr>
        <p:txBody>
          <a:bodyPr/>
          <a:lstStyle/>
          <a:p>
            <a:r>
              <a:rPr lang="zh-CN" altLang="en-US"/>
              <a:t>单击此处编辑母版标题样式</a:t>
            </a:r>
          </a:p>
        </p:txBody>
      </p:sp>
    </p:spTree>
    <p:extLst>
      <p:ext uri="{BB962C8B-B14F-4D97-AF65-F5344CB8AC3E}">
        <p14:creationId xmlns:p14="http://schemas.microsoft.com/office/powerpoint/2010/main" val="10633667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8D1043DE-E273-4259-B376-7DAF350E97A7}"/>
              </a:ext>
            </a:extLst>
          </p:cNvPr>
          <p:cNvSpPr>
            <a:spLocks noGrp="1"/>
          </p:cNvSpPr>
          <p:nvPr>
            <p:ph type="pic" sz="quarter" idx="18"/>
          </p:nvPr>
        </p:nvSpPr>
        <p:spPr>
          <a:xfrm>
            <a:off x="242541" y="531791"/>
            <a:ext cx="402336" cy="401964"/>
          </a:xfrm>
          <a:prstGeom prst="ellipse">
            <a:avLst/>
          </a:prstGeom>
        </p:spPr>
        <p:txBody>
          <a:bodyPr anchor="ctr"/>
          <a:lstStyle>
            <a:lvl1pPr algn="ctr">
              <a:defRPr sz="666"/>
            </a:lvl1pPr>
          </a:lstStyle>
          <a:p>
            <a:endParaRPr lang="en-US" dirty="0"/>
          </a:p>
        </p:txBody>
      </p:sp>
      <p:grpSp>
        <p:nvGrpSpPr>
          <p:cNvPr id="35" name="Group 34">
            <a:extLst>
              <a:ext uri="{FF2B5EF4-FFF2-40B4-BE49-F238E27FC236}">
                <a16:creationId xmlns:a16="http://schemas.microsoft.com/office/drawing/2014/main" id="{277F315A-3805-B748-95C9-A9FCC7B33DA0}"/>
              </a:ext>
            </a:extLst>
          </p:cNvPr>
          <p:cNvGrpSpPr/>
          <p:nvPr userDrawn="1"/>
        </p:nvGrpSpPr>
        <p:grpSpPr>
          <a:xfrm>
            <a:off x="7851422" y="1646652"/>
            <a:ext cx="3652663" cy="1037618"/>
            <a:chOff x="5888566" y="1236133"/>
            <a:chExt cx="2739497" cy="778934"/>
          </a:xfrm>
          <a:solidFill>
            <a:schemeClr val="accent4"/>
          </a:solidFill>
        </p:grpSpPr>
        <p:sp>
          <p:nvSpPr>
            <p:cNvPr id="32" name="Rectangle 31">
              <a:extLst>
                <a:ext uri="{FF2B5EF4-FFF2-40B4-BE49-F238E27FC236}">
                  <a16:creationId xmlns:a16="http://schemas.microsoft.com/office/drawing/2014/main" id="{C932D70C-8227-B043-87A5-C5A61032F5F4}"/>
                </a:ext>
              </a:extLst>
            </p:cNvPr>
            <p:cNvSpPr/>
            <p:nvPr userDrawn="1"/>
          </p:nvSpPr>
          <p:spPr>
            <a:xfrm>
              <a:off x="6062133" y="1236133"/>
              <a:ext cx="2565930" cy="7789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34" name="Triangle 33">
              <a:extLst>
                <a:ext uri="{FF2B5EF4-FFF2-40B4-BE49-F238E27FC236}">
                  <a16:creationId xmlns:a16="http://schemas.microsoft.com/office/drawing/2014/main" id="{D222D850-1D68-BD40-ADB4-0A53AD25E956}"/>
                </a:ext>
              </a:extLst>
            </p:cNvPr>
            <p:cNvSpPr/>
            <p:nvPr userDrawn="1"/>
          </p:nvSpPr>
          <p:spPr>
            <a:xfrm rot="16200000">
              <a:off x="5774266" y="1447800"/>
              <a:ext cx="584200" cy="3556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18" name="Text Placeholder 6">
            <a:extLst>
              <a:ext uri="{FF2B5EF4-FFF2-40B4-BE49-F238E27FC236}">
                <a16:creationId xmlns:a16="http://schemas.microsoft.com/office/drawing/2014/main" id="{B61F111C-70A3-A643-9EDD-CFD001E3DCA7}"/>
              </a:ext>
            </a:extLst>
          </p:cNvPr>
          <p:cNvSpPr>
            <a:spLocks noGrp="1"/>
          </p:cNvSpPr>
          <p:nvPr>
            <p:ph type="body" sz="quarter" idx="23"/>
          </p:nvPr>
        </p:nvSpPr>
        <p:spPr>
          <a:xfrm>
            <a:off x="8369023" y="2874154"/>
            <a:ext cx="3120632" cy="3147902"/>
          </a:xfrm>
        </p:spPr>
        <p:txBody>
          <a:bodyPr/>
          <a:lstStyle>
            <a:lvl1pPr algn="l">
              <a:lnSpc>
                <a:spcPts val="1705"/>
              </a:lnSpc>
              <a:spcBef>
                <a:spcPts val="799"/>
              </a:spcBef>
              <a:spcAft>
                <a:spcPts val="0"/>
              </a:spcAft>
              <a:defRPr lang="en-US" sz="1332" b="0" i="0" kern="1200" baseline="0" dirty="0">
                <a:solidFill>
                  <a:schemeClr val="tx1"/>
                </a:solidFill>
                <a:latin typeface="+mn-lt"/>
                <a:ea typeface="+mn-ea"/>
                <a:cs typeface="Arial" pitchFamily="34" charset="0"/>
              </a:defRPr>
            </a:lvl1pPr>
            <a:lvl2pPr marL="152259" indent="-152259">
              <a:spcBef>
                <a:spcPts val="799"/>
              </a:spcBef>
              <a:spcAft>
                <a:spcPts val="0"/>
              </a:spcAft>
              <a:buClr>
                <a:srgbClr val="666666"/>
              </a:buClr>
              <a:buFont typeface="Arial" panose="020B0604020202020204" pitchFamily="34" charset="0"/>
              <a:buChar char="•"/>
              <a:tabLst/>
              <a:defRPr lang="en-US" sz="1332" kern="1200" dirty="0">
                <a:solidFill>
                  <a:schemeClr val="tx1"/>
                </a:solidFill>
                <a:latin typeface="+mn-lt"/>
                <a:ea typeface="+mn-ea"/>
                <a:cs typeface="Arial" pitchFamily="34" charset="0"/>
              </a:defRPr>
            </a:lvl2pPr>
            <a:lvl3pPr marL="431401" indent="-228389">
              <a:spcBef>
                <a:spcPts val="400"/>
              </a:spcBef>
              <a:spcAft>
                <a:spcPts val="0"/>
              </a:spcAft>
              <a:buClr>
                <a:srgbClr val="666666"/>
              </a:buClr>
              <a:defRPr lang="en-US" sz="1332" kern="1200" dirty="0">
                <a:solidFill>
                  <a:schemeClr val="tx1"/>
                </a:solidFill>
                <a:latin typeface="+mn-lt"/>
                <a:ea typeface="+mn-ea"/>
                <a:cs typeface="Arial" pitchFamily="34" charset="0"/>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marL="0" lvl="0" indent="0" algn="l" defTabSz="913554" rtl="0" eaLnBrk="1" latinLnBrk="0" hangingPunct="1">
              <a:spcBef>
                <a:spcPts val="999"/>
              </a:spcBef>
              <a:spcAft>
                <a:spcPts val="599"/>
              </a:spcAft>
              <a:buFontTx/>
              <a:buNone/>
            </a:pPr>
            <a:r>
              <a:rPr lang="en-US" dirty="0"/>
              <a:t>Click to edit Master text styles</a:t>
            </a:r>
          </a:p>
          <a:p>
            <a:pPr marL="154374" lvl="1" indent="-154374" algn="l" defTabSz="913554" rtl="0" eaLnBrk="1" latinLnBrk="0" hangingPunct="1">
              <a:spcBef>
                <a:spcPts val="0"/>
              </a:spcBef>
              <a:spcAft>
                <a:spcPts val="599"/>
              </a:spcAft>
              <a:buClr>
                <a:schemeClr val="tx2"/>
              </a:buClr>
              <a:buSzPct val="125000"/>
              <a:buFont typeface="Arial" pitchFamily="34" charset="0"/>
              <a:buChar char="•"/>
              <a:tabLst/>
            </a:pPr>
            <a:r>
              <a:rPr lang="en-US" dirty="0"/>
              <a:t>Level 2</a:t>
            </a:r>
          </a:p>
          <a:p>
            <a:pPr marL="382763" lvl="2" indent="-179751" algn="l" defTabSz="913554" rtl="0" eaLnBrk="1" latinLnBrk="0" hangingPunct="1">
              <a:spcBef>
                <a:spcPts val="0"/>
              </a:spcBef>
              <a:spcAft>
                <a:spcPts val="599"/>
              </a:spcAft>
              <a:buClr>
                <a:schemeClr val="tx2"/>
              </a:buClr>
              <a:buFont typeface="Arial" pitchFamily="34" charset="0"/>
              <a:buChar char="–"/>
              <a:tabLst/>
            </a:pPr>
            <a:r>
              <a:rPr lang="en-US" dirty="0"/>
              <a:t>Level 3</a:t>
            </a:r>
          </a:p>
        </p:txBody>
      </p:sp>
      <p:sp>
        <p:nvSpPr>
          <p:cNvPr id="27" name="Chart Placeholder 25">
            <a:extLst>
              <a:ext uri="{FF2B5EF4-FFF2-40B4-BE49-F238E27FC236}">
                <a16:creationId xmlns:a16="http://schemas.microsoft.com/office/drawing/2014/main" id="{35B399FF-4F66-E548-9034-B4590226F8E2}"/>
              </a:ext>
            </a:extLst>
          </p:cNvPr>
          <p:cNvSpPr>
            <a:spLocks noGrp="1"/>
          </p:cNvSpPr>
          <p:nvPr>
            <p:ph type="chart" sz="quarter" idx="26"/>
          </p:nvPr>
        </p:nvSpPr>
        <p:spPr>
          <a:xfrm>
            <a:off x="745068" y="1751702"/>
            <a:ext cx="7360355" cy="4270019"/>
          </a:xfrm>
        </p:spPr>
        <p:txBody>
          <a:bodyPr/>
          <a:lstStyle/>
          <a:p>
            <a:endParaRPr lang="en-US" dirty="0"/>
          </a:p>
        </p:txBody>
      </p:sp>
      <p:sp>
        <p:nvSpPr>
          <p:cNvPr id="30" name="Text Placeholder 6">
            <a:extLst>
              <a:ext uri="{FF2B5EF4-FFF2-40B4-BE49-F238E27FC236}">
                <a16:creationId xmlns:a16="http://schemas.microsoft.com/office/drawing/2014/main" id="{69E269EA-7644-0B43-9091-5A220DB644AB}"/>
              </a:ext>
            </a:extLst>
          </p:cNvPr>
          <p:cNvSpPr>
            <a:spLocks noGrp="1"/>
          </p:cNvSpPr>
          <p:nvPr>
            <p:ph type="body" sz="quarter" idx="27"/>
          </p:nvPr>
        </p:nvSpPr>
        <p:spPr>
          <a:xfrm>
            <a:off x="8369023" y="1790774"/>
            <a:ext cx="3121152" cy="749375"/>
          </a:xfrm>
        </p:spPr>
        <p:txBody>
          <a:bodyPr/>
          <a:lstStyle>
            <a:lvl1pPr algn="l">
              <a:lnSpc>
                <a:spcPts val="1705"/>
              </a:lnSpc>
              <a:spcBef>
                <a:spcPts val="799"/>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5849598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aph2">
    <p:spTree>
      <p:nvGrpSpPr>
        <p:cNvPr id="1" name=""/>
        <p:cNvGrpSpPr/>
        <p:nvPr/>
      </p:nvGrpSpPr>
      <p:grpSpPr>
        <a:xfrm>
          <a:off x="0" y="0"/>
          <a:ext cx="0" cy="0"/>
          <a:chOff x="0" y="0"/>
          <a:chExt cx="0" cy="0"/>
        </a:xfrm>
      </p:grpSpPr>
      <p:sp>
        <p:nvSpPr>
          <p:cNvPr id="10" name="Picture Placeholder 16">
            <a:extLst>
              <a:ext uri="{FF2B5EF4-FFF2-40B4-BE49-F238E27FC236}">
                <a16:creationId xmlns:a16="http://schemas.microsoft.com/office/drawing/2014/main" id="{8D1043DE-E273-4259-B376-7DAF350E97A7}"/>
              </a:ext>
            </a:extLst>
          </p:cNvPr>
          <p:cNvSpPr>
            <a:spLocks noGrp="1"/>
          </p:cNvSpPr>
          <p:nvPr>
            <p:ph type="pic" sz="quarter" idx="18"/>
          </p:nvPr>
        </p:nvSpPr>
        <p:spPr>
          <a:xfrm>
            <a:off x="242541" y="531791"/>
            <a:ext cx="402336" cy="401964"/>
          </a:xfrm>
          <a:prstGeom prst="ellipse">
            <a:avLst/>
          </a:prstGeom>
        </p:spPr>
        <p:txBody>
          <a:bodyPr anchor="ctr"/>
          <a:lstStyle>
            <a:lvl1pPr algn="ctr">
              <a:defRPr sz="666"/>
            </a:lvl1pPr>
          </a:lstStyle>
          <a:p>
            <a:endParaRPr lang="en-US" dirty="0"/>
          </a:p>
        </p:txBody>
      </p:sp>
      <p:grpSp>
        <p:nvGrpSpPr>
          <p:cNvPr id="35" name="Group 34">
            <a:extLst>
              <a:ext uri="{FF2B5EF4-FFF2-40B4-BE49-F238E27FC236}">
                <a16:creationId xmlns:a16="http://schemas.microsoft.com/office/drawing/2014/main" id="{277F315A-3805-B748-95C9-A9FCC7B33DA0}"/>
              </a:ext>
            </a:extLst>
          </p:cNvPr>
          <p:cNvGrpSpPr/>
          <p:nvPr userDrawn="1"/>
        </p:nvGrpSpPr>
        <p:grpSpPr>
          <a:xfrm>
            <a:off x="7851422" y="1646652"/>
            <a:ext cx="3652663" cy="1037618"/>
            <a:chOff x="5888566" y="1236133"/>
            <a:chExt cx="2739497" cy="778934"/>
          </a:xfrm>
          <a:solidFill>
            <a:schemeClr val="accent2"/>
          </a:solidFill>
        </p:grpSpPr>
        <p:sp>
          <p:nvSpPr>
            <p:cNvPr id="32" name="Rectangle 31">
              <a:extLst>
                <a:ext uri="{FF2B5EF4-FFF2-40B4-BE49-F238E27FC236}">
                  <a16:creationId xmlns:a16="http://schemas.microsoft.com/office/drawing/2014/main" id="{C932D70C-8227-B043-87A5-C5A61032F5F4}"/>
                </a:ext>
              </a:extLst>
            </p:cNvPr>
            <p:cNvSpPr/>
            <p:nvPr userDrawn="1"/>
          </p:nvSpPr>
          <p:spPr>
            <a:xfrm>
              <a:off x="6062133" y="1236133"/>
              <a:ext cx="2565930" cy="7789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34" name="Triangle 33">
              <a:extLst>
                <a:ext uri="{FF2B5EF4-FFF2-40B4-BE49-F238E27FC236}">
                  <a16:creationId xmlns:a16="http://schemas.microsoft.com/office/drawing/2014/main" id="{D222D850-1D68-BD40-ADB4-0A53AD25E956}"/>
                </a:ext>
              </a:extLst>
            </p:cNvPr>
            <p:cNvSpPr/>
            <p:nvPr userDrawn="1"/>
          </p:nvSpPr>
          <p:spPr>
            <a:xfrm rot="16200000">
              <a:off x="5774266" y="1447800"/>
              <a:ext cx="584200" cy="3556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18" name="Text Placeholder 6">
            <a:extLst>
              <a:ext uri="{FF2B5EF4-FFF2-40B4-BE49-F238E27FC236}">
                <a16:creationId xmlns:a16="http://schemas.microsoft.com/office/drawing/2014/main" id="{B61F111C-70A3-A643-9EDD-CFD001E3DCA7}"/>
              </a:ext>
            </a:extLst>
          </p:cNvPr>
          <p:cNvSpPr>
            <a:spLocks noGrp="1"/>
          </p:cNvSpPr>
          <p:nvPr>
            <p:ph type="body" sz="quarter" idx="23"/>
          </p:nvPr>
        </p:nvSpPr>
        <p:spPr>
          <a:xfrm>
            <a:off x="8369023" y="2874154"/>
            <a:ext cx="3120632" cy="3147902"/>
          </a:xfrm>
        </p:spPr>
        <p:txBody>
          <a:bodyPr/>
          <a:lstStyle>
            <a:lvl1pPr algn="l">
              <a:lnSpc>
                <a:spcPts val="1705"/>
              </a:lnSpc>
              <a:spcBef>
                <a:spcPts val="799"/>
              </a:spcBef>
              <a:spcAft>
                <a:spcPts val="0"/>
              </a:spcAft>
              <a:defRPr lang="en-US" sz="1332" b="0" i="0" kern="1200" baseline="0" dirty="0">
                <a:solidFill>
                  <a:schemeClr val="tx1"/>
                </a:solidFill>
                <a:latin typeface="+mn-lt"/>
                <a:ea typeface="+mn-ea"/>
                <a:cs typeface="Arial" pitchFamily="34" charset="0"/>
              </a:defRPr>
            </a:lvl1pPr>
            <a:lvl2pPr marL="152259" indent="-152259">
              <a:spcBef>
                <a:spcPts val="799"/>
              </a:spcBef>
              <a:spcAft>
                <a:spcPts val="0"/>
              </a:spcAft>
              <a:buClr>
                <a:srgbClr val="666666"/>
              </a:buClr>
              <a:buFont typeface="Arial" panose="020B0604020202020204" pitchFamily="34" charset="0"/>
              <a:buChar char="•"/>
              <a:tabLst/>
              <a:defRPr lang="en-US" sz="1332" kern="1200" dirty="0">
                <a:solidFill>
                  <a:schemeClr val="tx1"/>
                </a:solidFill>
                <a:latin typeface="+mn-lt"/>
                <a:ea typeface="+mn-ea"/>
                <a:cs typeface="Arial" pitchFamily="34" charset="0"/>
              </a:defRPr>
            </a:lvl2pPr>
            <a:lvl3pPr marL="431401" indent="-228389">
              <a:spcBef>
                <a:spcPts val="400"/>
              </a:spcBef>
              <a:spcAft>
                <a:spcPts val="0"/>
              </a:spcAft>
              <a:buClr>
                <a:srgbClr val="666666"/>
              </a:buClr>
              <a:defRPr lang="en-US" sz="1332" kern="1200" dirty="0">
                <a:solidFill>
                  <a:schemeClr val="tx1"/>
                </a:solidFill>
                <a:latin typeface="+mn-lt"/>
                <a:ea typeface="+mn-ea"/>
                <a:cs typeface="Arial" pitchFamily="34" charset="0"/>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marL="0" lvl="0" indent="0" algn="l" defTabSz="913554" rtl="0" eaLnBrk="1" latinLnBrk="0" hangingPunct="1">
              <a:spcBef>
                <a:spcPts val="999"/>
              </a:spcBef>
              <a:spcAft>
                <a:spcPts val="599"/>
              </a:spcAft>
              <a:buFontTx/>
              <a:buNone/>
            </a:pPr>
            <a:r>
              <a:rPr lang="en-US" dirty="0"/>
              <a:t>Click to edit Master text styles</a:t>
            </a:r>
          </a:p>
          <a:p>
            <a:pPr marL="154374" lvl="1" indent="-154374" algn="l" defTabSz="913554" rtl="0" eaLnBrk="1" latinLnBrk="0" hangingPunct="1">
              <a:spcBef>
                <a:spcPts val="0"/>
              </a:spcBef>
              <a:spcAft>
                <a:spcPts val="599"/>
              </a:spcAft>
              <a:buClr>
                <a:schemeClr val="tx2"/>
              </a:buClr>
              <a:buSzPct val="125000"/>
              <a:buFont typeface="Arial" pitchFamily="34" charset="0"/>
              <a:buChar char="•"/>
              <a:tabLst/>
            </a:pPr>
            <a:r>
              <a:rPr lang="en-US" dirty="0"/>
              <a:t>Level 2</a:t>
            </a:r>
          </a:p>
          <a:p>
            <a:pPr marL="382763" lvl="2" indent="-179751" algn="l" defTabSz="913554" rtl="0" eaLnBrk="1" latinLnBrk="0" hangingPunct="1">
              <a:spcBef>
                <a:spcPts val="0"/>
              </a:spcBef>
              <a:spcAft>
                <a:spcPts val="599"/>
              </a:spcAft>
              <a:buClr>
                <a:schemeClr val="tx2"/>
              </a:buClr>
              <a:buFont typeface="Arial" pitchFamily="34" charset="0"/>
              <a:buChar char="–"/>
              <a:tabLst/>
            </a:pPr>
            <a:r>
              <a:rPr lang="en-US" dirty="0"/>
              <a:t>Level 3</a:t>
            </a:r>
          </a:p>
        </p:txBody>
      </p:sp>
      <p:sp>
        <p:nvSpPr>
          <p:cNvPr id="27" name="Chart Placeholder 25">
            <a:extLst>
              <a:ext uri="{FF2B5EF4-FFF2-40B4-BE49-F238E27FC236}">
                <a16:creationId xmlns:a16="http://schemas.microsoft.com/office/drawing/2014/main" id="{35B399FF-4F66-E548-9034-B4590226F8E2}"/>
              </a:ext>
            </a:extLst>
          </p:cNvPr>
          <p:cNvSpPr>
            <a:spLocks noGrp="1"/>
          </p:cNvSpPr>
          <p:nvPr>
            <p:ph type="chart" sz="quarter" idx="26"/>
          </p:nvPr>
        </p:nvSpPr>
        <p:spPr>
          <a:xfrm>
            <a:off x="745068" y="1751702"/>
            <a:ext cx="7360355" cy="4270019"/>
          </a:xfrm>
        </p:spPr>
        <p:txBody>
          <a:bodyPr/>
          <a:lstStyle/>
          <a:p>
            <a:endParaRPr lang="en-US" dirty="0"/>
          </a:p>
        </p:txBody>
      </p:sp>
      <p:sp>
        <p:nvSpPr>
          <p:cNvPr id="30" name="Text Placeholder 6">
            <a:extLst>
              <a:ext uri="{FF2B5EF4-FFF2-40B4-BE49-F238E27FC236}">
                <a16:creationId xmlns:a16="http://schemas.microsoft.com/office/drawing/2014/main" id="{69E269EA-7644-0B43-9091-5A220DB644AB}"/>
              </a:ext>
            </a:extLst>
          </p:cNvPr>
          <p:cNvSpPr>
            <a:spLocks noGrp="1"/>
          </p:cNvSpPr>
          <p:nvPr>
            <p:ph type="body" sz="quarter" idx="27"/>
          </p:nvPr>
        </p:nvSpPr>
        <p:spPr>
          <a:xfrm>
            <a:off x="8369023" y="1790774"/>
            <a:ext cx="3121152" cy="749375"/>
          </a:xfrm>
        </p:spPr>
        <p:txBody>
          <a:bodyPr/>
          <a:lstStyle>
            <a:lvl1pPr algn="l">
              <a:lnSpc>
                <a:spcPts val="1705"/>
              </a:lnSpc>
              <a:spcBef>
                <a:spcPts val="799"/>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440768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06122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Line Chart">
    <p:spTree>
      <p:nvGrpSpPr>
        <p:cNvPr id="1" name=""/>
        <p:cNvGrpSpPr/>
        <p:nvPr/>
      </p:nvGrpSpPr>
      <p:grpSpPr>
        <a:xfrm>
          <a:off x="0" y="0"/>
          <a:ext cx="0" cy="0"/>
          <a:chOff x="0" y="0"/>
          <a:chExt cx="0" cy="0"/>
        </a:xfrm>
      </p:grpSpPr>
      <p:sp>
        <p:nvSpPr>
          <p:cNvPr id="27" name="Content Placeholder 25">
            <a:extLst>
              <a:ext uri="{FF2B5EF4-FFF2-40B4-BE49-F238E27FC236}">
                <a16:creationId xmlns:a16="http://schemas.microsoft.com/office/drawing/2014/main" id="{3DE7E092-86AF-4D6B-B3A1-19F38562180B}"/>
              </a:ext>
            </a:extLst>
          </p:cNvPr>
          <p:cNvSpPr>
            <a:spLocks noGrp="1"/>
          </p:cNvSpPr>
          <p:nvPr>
            <p:ph sz="quarter" idx="30"/>
          </p:nvPr>
        </p:nvSpPr>
        <p:spPr>
          <a:xfrm>
            <a:off x="746743" y="1285741"/>
            <a:ext cx="7087072" cy="39343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11" name="Picture Placeholder 16">
            <a:extLst>
              <a:ext uri="{FF2B5EF4-FFF2-40B4-BE49-F238E27FC236}">
                <a16:creationId xmlns:a16="http://schemas.microsoft.com/office/drawing/2014/main" id="{4D535404-2B43-4DCE-8476-C6C36AF00D8F}"/>
              </a:ext>
            </a:extLst>
          </p:cNvPr>
          <p:cNvSpPr>
            <a:spLocks noGrp="1"/>
          </p:cNvSpPr>
          <p:nvPr>
            <p:ph type="pic" sz="quarter" idx="18"/>
          </p:nvPr>
        </p:nvSpPr>
        <p:spPr>
          <a:xfrm>
            <a:off x="242541" y="531791"/>
            <a:ext cx="402336" cy="401964"/>
          </a:xfrm>
          <a:prstGeom prst="ellipse">
            <a:avLst/>
          </a:prstGeom>
        </p:spPr>
        <p:txBody>
          <a:bodyPr anchor="ctr"/>
          <a:lstStyle>
            <a:lvl1pPr algn="ctr">
              <a:defRPr sz="666"/>
            </a:lvl1pPr>
          </a:lstStyle>
          <a:p>
            <a:endParaRPr lang="en-US" dirty="0"/>
          </a:p>
        </p:txBody>
      </p:sp>
      <p:sp>
        <p:nvSpPr>
          <p:cNvPr id="12" name="Text Placeholder 6">
            <a:extLst>
              <a:ext uri="{FF2B5EF4-FFF2-40B4-BE49-F238E27FC236}">
                <a16:creationId xmlns:a16="http://schemas.microsoft.com/office/drawing/2014/main" id="{DA6E6F3E-4A42-4F8E-B5BF-4DA4D007679C}"/>
              </a:ext>
            </a:extLst>
          </p:cNvPr>
          <p:cNvSpPr>
            <a:spLocks noGrp="1"/>
          </p:cNvSpPr>
          <p:nvPr>
            <p:ph type="body" sz="quarter" idx="23"/>
          </p:nvPr>
        </p:nvSpPr>
        <p:spPr>
          <a:xfrm>
            <a:off x="8192919" y="4895623"/>
            <a:ext cx="3296736" cy="1126433"/>
          </a:xfrm>
        </p:spPr>
        <p:txBody>
          <a:bodyPr/>
          <a:lstStyle>
            <a:lvl1pPr algn="l">
              <a:lnSpc>
                <a:spcPts val="1705"/>
              </a:lnSpc>
              <a:spcBef>
                <a:spcPts val="799"/>
              </a:spcBef>
              <a:spcAft>
                <a:spcPts val="0"/>
              </a:spcAft>
              <a:defRPr lang="en-US" sz="1332" b="0" i="0" kern="1200" baseline="0" dirty="0">
                <a:solidFill>
                  <a:schemeClr val="tx1"/>
                </a:solidFill>
                <a:latin typeface="+mn-lt"/>
                <a:ea typeface="+mn-ea"/>
                <a:cs typeface="Arial" pitchFamily="34" charset="0"/>
              </a:defRPr>
            </a:lvl1pPr>
            <a:lvl2pPr marL="152259" indent="-152259">
              <a:spcBef>
                <a:spcPts val="799"/>
              </a:spcBef>
              <a:spcAft>
                <a:spcPts val="0"/>
              </a:spcAft>
              <a:buClr>
                <a:srgbClr val="666666"/>
              </a:buClr>
              <a:buFont typeface="Arial" panose="020B0604020202020204" pitchFamily="34" charset="0"/>
              <a:buChar char="•"/>
              <a:tabLst/>
              <a:defRPr lang="en-US" sz="1332" kern="1200" dirty="0">
                <a:solidFill>
                  <a:schemeClr val="tx1"/>
                </a:solidFill>
                <a:latin typeface="+mn-lt"/>
                <a:ea typeface="+mn-ea"/>
                <a:cs typeface="Arial" pitchFamily="34" charset="0"/>
              </a:defRPr>
            </a:lvl2pPr>
            <a:lvl3pPr marL="431401" indent="-228389">
              <a:spcBef>
                <a:spcPts val="400"/>
              </a:spcBef>
              <a:spcAft>
                <a:spcPts val="0"/>
              </a:spcAft>
              <a:buClr>
                <a:srgbClr val="666666"/>
              </a:buClr>
              <a:defRPr lang="en-US" sz="1332" kern="1200" dirty="0">
                <a:solidFill>
                  <a:schemeClr val="tx1"/>
                </a:solidFill>
                <a:latin typeface="+mn-lt"/>
                <a:ea typeface="+mn-ea"/>
                <a:cs typeface="Arial" pitchFamily="34" charset="0"/>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marL="0" lvl="0" indent="0" algn="l" defTabSz="913554" rtl="0" eaLnBrk="1" latinLnBrk="0" hangingPunct="1">
              <a:spcBef>
                <a:spcPts val="999"/>
              </a:spcBef>
              <a:spcAft>
                <a:spcPts val="599"/>
              </a:spcAft>
              <a:buFontTx/>
              <a:buNone/>
            </a:pPr>
            <a:r>
              <a:rPr lang="en-US" dirty="0"/>
              <a:t>Click to edit Master text styles</a:t>
            </a:r>
          </a:p>
          <a:p>
            <a:pPr marL="154374" lvl="1" indent="-154374" algn="l" defTabSz="913554" rtl="0" eaLnBrk="1" latinLnBrk="0" hangingPunct="1">
              <a:spcBef>
                <a:spcPts val="0"/>
              </a:spcBef>
              <a:spcAft>
                <a:spcPts val="599"/>
              </a:spcAft>
              <a:buClr>
                <a:schemeClr val="tx2"/>
              </a:buClr>
              <a:buSzPct val="125000"/>
              <a:buFont typeface="Arial" pitchFamily="34" charset="0"/>
              <a:buChar char="•"/>
              <a:tabLst/>
            </a:pPr>
            <a:r>
              <a:rPr lang="en-US" dirty="0"/>
              <a:t>Level 2</a:t>
            </a:r>
          </a:p>
          <a:p>
            <a:pPr marL="382763" lvl="2" indent="-179751" algn="l" defTabSz="913554" rtl="0" eaLnBrk="1" latinLnBrk="0" hangingPunct="1">
              <a:spcBef>
                <a:spcPts val="0"/>
              </a:spcBef>
              <a:spcAft>
                <a:spcPts val="599"/>
              </a:spcAft>
              <a:buClr>
                <a:schemeClr val="tx2"/>
              </a:buClr>
              <a:buFont typeface="Arial" pitchFamily="34" charset="0"/>
              <a:buChar char="–"/>
              <a:tabLst/>
            </a:pPr>
            <a:r>
              <a:rPr lang="en-US" dirty="0"/>
              <a:t>Level 3</a:t>
            </a:r>
          </a:p>
        </p:txBody>
      </p:sp>
      <p:grpSp>
        <p:nvGrpSpPr>
          <p:cNvPr id="17" name="Group 16">
            <a:extLst>
              <a:ext uri="{FF2B5EF4-FFF2-40B4-BE49-F238E27FC236}">
                <a16:creationId xmlns:a16="http://schemas.microsoft.com/office/drawing/2014/main" id="{0A183419-FB5E-4259-9CC7-3F1329061631}"/>
              </a:ext>
            </a:extLst>
          </p:cNvPr>
          <p:cNvGrpSpPr/>
          <p:nvPr userDrawn="1"/>
        </p:nvGrpSpPr>
        <p:grpSpPr>
          <a:xfrm>
            <a:off x="7851422" y="1646652"/>
            <a:ext cx="1687300" cy="1037618"/>
            <a:chOff x="5888566" y="1236133"/>
            <a:chExt cx="1265475" cy="778934"/>
          </a:xfrm>
        </p:grpSpPr>
        <p:sp>
          <p:nvSpPr>
            <p:cNvPr id="14" name="Rectangle 13">
              <a:extLst>
                <a:ext uri="{FF2B5EF4-FFF2-40B4-BE49-F238E27FC236}">
                  <a16:creationId xmlns:a16="http://schemas.microsoft.com/office/drawing/2014/main" id="{F4448529-09C4-45F6-8963-565371EAA9E2}"/>
                </a:ext>
              </a:extLst>
            </p:cNvPr>
            <p:cNvSpPr/>
            <p:nvPr userDrawn="1"/>
          </p:nvSpPr>
          <p:spPr>
            <a:xfrm>
              <a:off x="6062133" y="1236133"/>
              <a:ext cx="1091908" cy="7789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15" name="Triangle 33">
              <a:extLst>
                <a:ext uri="{FF2B5EF4-FFF2-40B4-BE49-F238E27FC236}">
                  <a16:creationId xmlns:a16="http://schemas.microsoft.com/office/drawing/2014/main" id="{0F16140E-1A99-4EE6-BB1E-C67DD1FA1270}"/>
                </a:ext>
              </a:extLst>
            </p:cNvPr>
            <p:cNvSpPr/>
            <p:nvPr userDrawn="1"/>
          </p:nvSpPr>
          <p:spPr>
            <a:xfrm rot="16200000">
              <a:off x="5774266" y="1447800"/>
              <a:ext cx="584200" cy="3556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16" name="Text Placeholder 6">
            <a:extLst>
              <a:ext uri="{FF2B5EF4-FFF2-40B4-BE49-F238E27FC236}">
                <a16:creationId xmlns:a16="http://schemas.microsoft.com/office/drawing/2014/main" id="{05CA36BC-D978-4D03-9969-0C73A606C1B4}"/>
              </a:ext>
            </a:extLst>
          </p:cNvPr>
          <p:cNvSpPr>
            <a:spLocks noGrp="1"/>
          </p:cNvSpPr>
          <p:nvPr userDrawn="1">
            <p:ph type="body" sz="quarter" idx="27"/>
          </p:nvPr>
        </p:nvSpPr>
        <p:spPr>
          <a:xfrm>
            <a:off x="8192919" y="1721718"/>
            <a:ext cx="1235728" cy="887489"/>
          </a:xfrm>
        </p:spPr>
        <p:txBody>
          <a:bodyPr anchor="ctr"/>
          <a:lstStyle>
            <a:lvl1pPr algn="ctr">
              <a:lnSpc>
                <a:spcPct val="100000"/>
              </a:lnSpc>
              <a:spcBef>
                <a:spcPts val="400"/>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grpSp>
        <p:nvGrpSpPr>
          <p:cNvPr id="18" name="Group 17">
            <a:extLst>
              <a:ext uri="{FF2B5EF4-FFF2-40B4-BE49-F238E27FC236}">
                <a16:creationId xmlns:a16="http://schemas.microsoft.com/office/drawing/2014/main" id="{3E3A923A-81B0-4435-844D-781BFFAAE8E2}"/>
              </a:ext>
            </a:extLst>
          </p:cNvPr>
          <p:cNvGrpSpPr/>
          <p:nvPr userDrawn="1"/>
        </p:nvGrpSpPr>
        <p:grpSpPr>
          <a:xfrm>
            <a:off x="7851422" y="3490095"/>
            <a:ext cx="1687300" cy="1037618"/>
            <a:chOff x="5888566" y="1236133"/>
            <a:chExt cx="1265475" cy="778934"/>
          </a:xfrm>
          <a:solidFill>
            <a:schemeClr val="tx2"/>
          </a:solidFill>
        </p:grpSpPr>
        <p:sp>
          <p:nvSpPr>
            <p:cNvPr id="19" name="Rectangle 18">
              <a:extLst>
                <a:ext uri="{FF2B5EF4-FFF2-40B4-BE49-F238E27FC236}">
                  <a16:creationId xmlns:a16="http://schemas.microsoft.com/office/drawing/2014/main" id="{1847AFBC-DB2C-450D-9BEE-749AFE3C0955}"/>
                </a:ext>
              </a:extLst>
            </p:cNvPr>
            <p:cNvSpPr/>
            <p:nvPr userDrawn="1"/>
          </p:nvSpPr>
          <p:spPr>
            <a:xfrm>
              <a:off x="6062133" y="1236133"/>
              <a:ext cx="1091908" cy="7789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20" name="Triangle 33">
              <a:extLst>
                <a:ext uri="{FF2B5EF4-FFF2-40B4-BE49-F238E27FC236}">
                  <a16:creationId xmlns:a16="http://schemas.microsoft.com/office/drawing/2014/main" id="{970375DC-0BF8-4EF9-B48F-BD65B81AE435}"/>
                </a:ext>
              </a:extLst>
            </p:cNvPr>
            <p:cNvSpPr/>
            <p:nvPr userDrawn="1"/>
          </p:nvSpPr>
          <p:spPr>
            <a:xfrm rot="16200000">
              <a:off x="5774266" y="1447800"/>
              <a:ext cx="584200" cy="3556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21" name="Text Placeholder 6">
            <a:extLst>
              <a:ext uri="{FF2B5EF4-FFF2-40B4-BE49-F238E27FC236}">
                <a16:creationId xmlns:a16="http://schemas.microsoft.com/office/drawing/2014/main" id="{4A15B576-335D-4F9F-84A9-FD5B972D6028}"/>
              </a:ext>
            </a:extLst>
          </p:cNvPr>
          <p:cNvSpPr>
            <a:spLocks noGrp="1"/>
          </p:cNvSpPr>
          <p:nvPr>
            <p:ph type="body" sz="quarter" idx="28"/>
          </p:nvPr>
        </p:nvSpPr>
        <p:spPr>
          <a:xfrm>
            <a:off x="8192919" y="3565160"/>
            <a:ext cx="1235728" cy="887489"/>
          </a:xfrm>
        </p:spPr>
        <p:txBody>
          <a:bodyPr anchor="ctr"/>
          <a:lstStyle>
            <a:lvl1pPr algn="ctr">
              <a:lnSpc>
                <a:spcPct val="100000"/>
              </a:lnSpc>
              <a:spcBef>
                <a:spcPts val="400"/>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317139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Line Chart2">
    <p:spTree>
      <p:nvGrpSpPr>
        <p:cNvPr id="1" name=""/>
        <p:cNvGrpSpPr/>
        <p:nvPr/>
      </p:nvGrpSpPr>
      <p:grpSpPr>
        <a:xfrm>
          <a:off x="0" y="0"/>
          <a:ext cx="0" cy="0"/>
          <a:chOff x="0" y="0"/>
          <a:chExt cx="0" cy="0"/>
        </a:xfrm>
      </p:grpSpPr>
      <p:sp>
        <p:nvSpPr>
          <p:cNvPr id="27" name="Content Placeholder 25">
            <a:extLst>
              <a:ext uri="{FF2B5EF4-FFF2-40B4-BE49-F238E27FC236}">
                <a16:creationId xmlns:a16="http://schemas.microsoft.com/office/drawing/2014/main" id="{3DE7E092-86AF-4D6B-B3A1-19F38562180B}"/>
              </a:ext>
            </a:extLst>
          </p:cNvPr>
          <p:cNvSpPr>
            <a:spLocks noGrp="1"/>
          </p:cNvSpPr>
          <p:nvPr>
            <p:ph sz="quarter" idx="30"/>
          </p:nvPr>
        </p:nvSpPr>
        <p:spPr>
          <a:xfrm>
            <a:off x="746743" y="1285741"/>
            <a:ext cx="7087072" cy="39343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11" name="Picture Placeholder 16">
            <a:extLst>
              <a:ext uri="{FF2B5EF4-FFF2-40B4-BE49-F238E27FC236}">
                <a16:creationId xmlns:a16="http://schemas.microsoft.com/office/drawing/2014/main" id="{4D535404-2B43-4DCE-8476-C6C36AF00D8F}"/>
              </a:ext>
            </a:extLst>
          </p:cNvPr>
          <p:cNvSpPr>
            <a:spLocks noGrp="1"/>
          </p:cNvSpPr>
          <p:nvPr>
            <p:ph type="pic" sz="quarter" idx="18"/>
          </p:nvPr>
        </p:nvSpPr>
        <p:spPr>
          <a:xfrm>
            <a:off x="242541" y="531791"/>
            <a:ext cx="402336" cy="401964"/>
          </a:xfrm>
          <a:prstGeom prst="ellipse">
            <a:avLst/>
          </a:prstGeom>
        </p:spPr>
        <p:txBody>
          <a:bodyPr anchor="ctr"/>
          <a:lstStyle>
            <a:lvl1pPr algn="ctr">
              <a:defRPr sz="666"/>
            </a:lvl1pPr>
          </a:lstStyle>
          <a:p>
            <a:endParaRPr lang="en-US" dirty="0"/>
          </a:p>
        </p:txBody>
      </p:sp>
      <p:sp>
        <p:nvSpPr>
          <p:cNvPr id="12" name="Text Placeholder 6">
            <a:extLst>
              <a:ext uri="{FF2B5EF4-FFF2-40B4-BE49-F238E27FC236}">
                <a16:creationId xmlns:a16="http://schemas.microsoft.com/office/drawing/2014/main" id="{DA6E6F3E-4A42-4F8E-B5BF-4DA4D007679C}"/>
              </a:ext>
            </a:extLst>
          </p:cNvPr>
          <p:cNvSpPr>
            <a:spLocks noGrp="1"/>
          </p:cNvSpPr>
          <p:nvPr>
            <p:ph type="body" sz="quarter" idx="23"/>
          </p:nvPr>
        </p:nvSpPr>
        <p:spPr>
          <a:xfrm>
            <a:off x="8192919" y="4895623"/>
            <a:ext cx="3296736" cy="1126433"/>
          </a:xfrm>
        </p:spPr>
        <p:txBody>
          <a:bodyPr/>
          <a:lstStyle>
            <a:lvl1pPr algn="l">
              <a:lnSpc>
                <a:spcPts val="1705"/>
              </a:lnSpc>
              <a:spcBef>
                <a:spcPts val="799"/>
              </a:spcBef>
              <a:spcAft>
                <a:spcPts val="0"/>
              </a:spcAft>
              <a:defRPr lang="en-US" sz="1332" b="0" i="0" kern="1200" baseline="0" dirty="0">
                <a:solidFill>
                  <a:schemeClr val="tx1"/>
                </a:solidFill>
                <a:latin typeface="+mn-lt"/>
                <a:ea typeface="+mn-ea"/>
                <a:cs typeface="Arial" pitchFamily="34" charset="0"/>
              </a:defRPr>
            </a:lvl1pPr>
            <a:lvl2pPr marL="152259" indent="-152259">
              <a:spcBef>
                <a:spcPts val="799"/>
              </a:spcBef>
              <a:spcAft>
                <a:spcPts val="0"/>
              </a:spcAft>
              <a:buClr>
                <a:srgbClr val="666666"/>
              </a:buClr>
              <a:buFont typeface="Arial" panose="020B0604020202020204" pitchFamily="34" charset="0"/>
              <a:buChar char="•"/>
              <a:tabLst/>
              <a:defRPr lang="en-US" sz="1332" kern="1200" dirty="0">
                <a:solidFill>
                  <a:schemeClr val="tx1"/>
                </a:solidFill>
                <a:latin typeface="+mn-lt"/>
                <a:ea typeface="+mn-ea"/>
                <a:cs typeface="Arial" pitchFamily="34" charset="0"/>
              </a:defRPr>
            </a:lvl2pPr>
            <a:lvl3pPr marL="431401" indent="-228389">
              <a:spcBef>
                <a:spcPts val="400"/>
              </a:spcBef>
              <a:spcAft>
                <a:spcPts val="0"/>
              </a:spcAft>
              <a:buClr>
                <a:srgbClr val="666666"/>
              </a:buClr>
              <a:defRPr lang="en-US" sz="1332" kern="1200" dirty="0">
                <a:solidFill>
                  <a:schemeClr val="tx1"/>
                </a:solidFill>
                <a:latin typeface="+mn-lt"/>
                <a:ea typeface="+mn-ea"/>
                <a:cs typeface="Arial" pitchFamily="34" charset="0"/>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marL="0" lvl="0" indent="0" algn="l" defTabSz="913554" rtl="0" eaLnBrk="1" latinLnBrk="0" hangingPunct="1">
              <a:spcBef>
                <a:spcPts val="999"/>
              </a:spcBef>
              <a:spcAft>
                <a:spcPts val="599"/>
              </a:spcAft>
              <a:buFontTx/>
              <a:buNone/>
            </a:pPr>
            <a:r>
              <a:rPr lang="en-US" dirty="0"/>
              <a:t>Click to edit Master text styles</a:t>
            </a:r>
          </a:p>
          <a:p>
            <a:pPr marL="154374" lvl="1" indent="-154374" algn="l" defTabSz="913554" rtl="0" eaLnBrk="1" latinLnBrk="0" hangingPunct="1">
              <a:spcBef>
                <a:spcPts val="0"/>
              </a:spcBef>
              <a:spcAft>
                <a:spcPts val="599"/>
              </a:spcAft>
              <a:buClr>
                <a:schemeClr val="tx2"/>
              </a:buClr>
              <a:buSzPct val="125000"/>
              <a:buFont typeface="Arial" pitchFamily="34" charset="0"/>
              <a:buChar char="•"/>
              <a:tabLst/>
            </a:pPr>
            <a:r>
              <a:rPr lang="en-US" dirty="0"/>
              <a:t>Level 2</a:t>
            </a:r>
          </a:p>
          <a:p>
            <a:pPr marL="382763" lvl="2" indent="-179751" algn="l" defTabSz="913554" rtl="0" eaLnBrk="1" latinLnBrk="0" hangingPunct="1">
              <a:spcBef>
                <a:spcPts val="0"/>
              </a:spcBef>
              <a:spcAft>
                <a:spcPts val="599"/>
              </a:spcAft>
              <a:buClr>
                <a:schemeClr val="tx2"/>
              </a:buClr>
              <a:buFont typeface="Arial" pitchFamily="34" charset="0"/>
              <a:buChar char="–"/>
              <a:tabLst/>
            </a:pPr>
            <a:r>
              <a:rPr lang="en-US" dirty="0"/>
              <a:t>Level 3</a:t>
            </a:r>
          </a:p>
        </p:txBody>
      </p:sp>
      <p:grpSp>
        <p:nvGrpSpPr>
          <p:cNvPr id="17" name="Group 16">
            <a:extLst>
              <a:ext uri="{FF2B5EF4-FFF2-40B4-BE49-F238E27FC236}">
                <a16:creationId xmlns:a16="http://schemas.microsoft.com/office/drawing/2014/main" id="{0A183419-FB5E-4259-9CC7-3F1329061631}"/>
              </a:ext>
            </a:extLst>
          </p:cNvPr>
          <p:cNvGrpSpPr/>
          <p:nvPr userDrawn="1"/>
        </p:nvGrpSpPr>
        <p:grpSpPr>
          <a:xfrm>
            <a:off x="7851422" y="1646652"/>
            <a:ext cx="1687300" cy="1037618"/>
            <a:chOff x="5888566" y="1236133"/>
            <a:chExt cx="1265475" cy="778934"/>
          </a:xfrm>
          <a:solidFill>
            <a:schemeClr val="accent2"/>
          </a:solidFill>
        </p:grpSpPr>
        <p:sp>
          <p:nvSpPr>
            <p:cNvPr id="14" name="Rectangle 13">
              <a:extLst>
                <a:ext uri="{FF2B5EF4-FFF2-40B4-BE49-F238E27FC236}">
                  <a16:creationId xmlns:a16="http://schemas.microsoft.com/office/drawing/2014/main" id="{F4448529-09C4-45F6-8963-565371EAA9E2}"/>
                </a:ext>
              </a:extLst>
            </p:cNvPr>
            <p:cNvSpPr/>
            <p:nvPr userDrawn="1"/>
          </p:nvSpPr>
          <p:spPr>
            <a:xfrm>
              <a:off x="6062133" y="1236133"/>
              <a:ext cx="1091908" cy="7789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15" name="Triangle 33">
              <a:extLst>
                <a:ext uri="{FF2B5EF4-FFF2-40B4-BE49-F238E27FC236}">
                  <a16:creationId xmlns:a16="http://schemas.microsoft.com/office/drawing/2014/main" id="{0F16140E-1A99-4EE6-BB1E-C67DD1FA1270}"/>
                </a:ext>
              </a:extLst>
            </p:cNvPr>
            <p:cNvSpPr/>
            <p:nvPr userDrawn="1"/>
          </p:nvSpPr>
          <p:spPr>
            <a:xfrm rot="16200000">
              <a:off x="5774266" y="1447800"/>
              <a:ext cx="584200" cy="3556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16" name="Text Placeholder 6">
            <a:extLst>
              <a:ext uri="{FF2B5EF4-FFF2-40B4-BE49-F238E27FC236}">
                <a16:creationId xmlns:a16="http://schemas.microsoft.com/office/drawing/2014/main" id="{05CA36BC-D978-4D03-9969-0C73A606C1B4}"/>
              </a:ext>
            </a:extLst>
          </p:cNvPr>
          <p:cNvSpPr>
            <a:spLocks noGrp="1"/>
          </p:cNvSpPr>
          <p:nvPr userDrawn="1">
            <p:ph type="body" sz="quarter" idx="27"/>
          </p:nvPr>
        </p:nvSpPr>
        <p:spPr>
          <a:xfrm>
            <a:off x="8192919" y="1721718"/>
            <a:ext cx="1235728" cy="887489"/>
          </a:xfrm>
        </p:spPr>
        <p:txBody>
          <a:bodyPr anchor="ctr"/>
          <a:lstStyle>
            <a:lvl1pPr algn="ctr">
              <a:lnSpc>
                <a:spcPct val="100000"/>
              </a:lnSpc>
              <a:spcBef>
                <a:spcPts val="400"/>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grpSp>
        <p:nvGrpSpPr>
          <p:cNvPr id="18" name="Group 17">
            <a:extLst>
              <a:ext uri="{FF2B5EF4-FFF2-40B4-BE49-F238E27FC236}">
                <a16:creationId xmlns:a16="http://schemas.microsoft.com/office/drawing/2014/main" id="{3E3A923A-81B0-4435-844D-781BFFAAE8E2}"/>
              </a:ext>
            </a:extLst>
          </p:cNvPr>
          <p:cNvGrpSpPr/>
          <p:nvPr userDrawn="1"/>
        </p:nvGrpSpPr>
        <p:grpSpPr>
          <a:xfrm>
            <a:off x="7851422" y="3490095"/>
            <a:ext cx="1687300" cy="1037618"/>
            <a:chOff x="5888566" y="1236133"/>
            <a:chExt cx="1265475" cy="778934"/>
          </a:xfrm>
          <a:solidFill>
            <a:schemeClr val="tx2"/>
          </a:solidFill>
        </p:grpSpPr>
        <p:sp>
          <p:nvSpPr>
            <p:cNvPr id="19" name="Rectangle 18">
              <a:extLst>
                <a:ext uri="{FF2B5EF4-FFF2-40B4-BE49-F238E27FC236}">
                  <a16:creationId xmlns:a16="http://schemas.microsoft.com/office/drawing/2014/main" id="{1847AFBC-DB2C-450D-9BEE-749AFE3C0955}"/>
                </a:ext>
              </a:extLst>
            </p:cNvPr>
            <p:cNvSpPr/>
            <p:nvPr userDrawn="1"/>
          </p:nvSpPr>
          <p:spPr>
            <a:xfrm>
              <a:off x="6062133" y="1236133"/>
              <a:ext cx="1091908" cy="7789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endParaRPr lang="en-US" sz="2131" dirty="0"/>
            </a:p>
          </p:txBody>
        </p:sp>
        <p:sp>
          <p:nvSpPr>
            <p:cNvPr id="20" name="Triangle 33">
              <a:extLst>
                <a:ext uri="{FF2B5EF4-FFF2-40B4-BE49-F238E27FC236}">
                  <a16:creationId xmlns:a16="http://schemas.microsoft.com/office/drawing/2014/main" id="{970375DC-0BF8-4EF9-B48F-BD65B81AE435}"/>
                </a:ext>
              </a:extLst>
            </p:cNvPr>
            <p:cNvSpPr/>
            <p:nvPr userDrawn="1"/>
          </p:nvSpPr>
          <p:spPr>
            <a:xfrm rot="16200000">
              <a:off x="5774266" y="1447800"/>
              <a:ext cx="584200" cy="3556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fontScale="47500" lnSpcReduction="20000"/>
            </a:bodyPr>
            <a:lstStyle/>
            <a:p>
              <a:pPr algn="ctr"/>
              <a:endParaRPr lang="en-US" sz="2131" dirty="0"/>
            </a:p>
          </p:txBody>
        </p:sp>
      </p:grpSp>
      <p:sp>
        <p:nvSpPr>
          <p:cNvPr id="21" name="Text Placeholder 6">
            <a:extLst>
              <a:ext uri="{FF2B5EF4-FFF2-40B4-BE49-F238E27FC236}">
                <a16:creationId xmlns:a16="http://schemas.microsoft.com/office/drawing/2014/main" id="{4A15B576-335D-4F9F-84A9-FD5B972D6028}"/>
              </a:ext>
            </a:extLst>
          </p:cNvPr>
          <p:cNvSpPr>
            <a:spLocks noGrp="1"/>
          </p:cNvSpPr>
          <p:nvPr>
            <p:ph type="body" sz="quarter" idx="28"/>
          </p:nvPr>
        </p:nvSpPr>
        <p:spPr>
          <a:xfrm>
            <a:off x="8192919" y="3565160"/>
            <a:ext cx="1235728" cy="887489"/>
          </a:xfrm>
        </p:spPr>
        <p:txBody>
          <a:bodyPr anchor="ctr"/>
          <a:lstStyle>
            <a:lvl1pPr algn="ctr">
              <a:lnSpc>
                <a:spcPct val="100000"/>
              </a:lnSpc>
              <a:spcBef>
                <a:spcPts val="400"/>
              </a:spcBef>
              <a:spcAft>
                <a:spcPts val="0"/>
              </a:spcAft>
              <a:defRPr sz="1332" b="1">
                <a:solidFill>
                  <a:schemeClr val="bg1"/>
                </a:solidFill>
              </a:defRPr>
            </a:lvl1pPr>
            <a:lvl2pPr marL="152259" indent="-152259">
              <a:spcBef>
                <a:spcPts val="799"/>
              </a:spcBef>
              <a:spcAft>
                <a:spcPts val="0"/>
              </a:spcAft>
              <a:buClr>
                <a:srgbClr val="666666"/>
              </a:buClr>
              <a:buFont typeface="Arial" panose="020B0604020202020204" pitchFamily="34" charset="0"/>
              <a:buChar char="•"/>
              <a:tabLst/>
              <a:defRPr sz="1332">
                <a:solidFill>
                  <a:srgbClr val="666666"/>
                </a:solidFill>
              </a:defRPr>
            </a:lvl2pPr>
            <a:lvl3pPr marL="304518" indent="-152259">
              <a:spcBef>
                <a:spcPts val="400"/>
              </a:spcBef>
              <a:spcAft>
                <a:spcPts val="0"/>
              </a:spcAft>
              <a:buClr>
                <a:srgbClr val="666666"/>
              </a:buClr>
              <a:defRPr sz="1332">
                <a:solidFill>
                  <a:srgbClr val="666666"/>
                </a:solidFill>
              </a:defRPr>
            </a:lvl3pPr>
            <a:lvl4pPr marL="456777" indent="-152259">
              <a:spcBef>
                <a:spcPts val="400"/>
              </a:spcBef>
              <a:spcAft>
                <a:spcPts val="0"/>
              </a:spcAft>
              <a:buClr>
                <a:srgbClr val="666666"/>
              </a:buClr>
              <a:defRPr sz="1332">
                <a:solidFill>
                  <a:srgbClr val="666666"/>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6609128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8F525-A99D-6248-A430-F8E3DCE8491E}"/>
              </a:ext>
            </a:extLst>
          </p:cNvPr>
          <p:cNvSpPr>
            <a:spLocks noGrp="1"/>
          </p:cNvSpPr>
          <p:nvPr>
            <p:ph type="title"/>
          </p:nvPr>
        </p:nvSpPr>
        <p:spPr/>
        <p:txBody>
          <a:bodyPr/>
          <a:lstStyle/>
          <a:p>
            <a:r>
              <a:rPr lang="en-US"/>
              <a:t>Click to edit Master title style</a:t>
            </a:r>
          </a:p>
        </p:txBody>
      </p:sp>
      <p:sp>
        <p:nvSpPr>
          <p:cNvPr id="10" name="Content Placeholder 7">
            <a:extLst>
              <a:ext uri="{FF2B5EF4-FFF2-40B4-BE49-F238E27FC236}">
                <a16:creationId xmlns:a16="http://schemas.microsoft.com/office/drawing/2014/main" id="{72A15F00-C000-4980-9FC4-5E8B4FDCA770}"/>
              </a:ext>
            </a:extLst>
          </p:cNvPr>
          <p:cNvSpPr>
            <a:spLocks noGrp="1"/>
          </p:cNvSpPr>
          <p:nvPr>
            <p:ph sz="quarter" idx="10"/>
          </p:nvPr>
        </p:nvSpPr>
        <p:spPr>
          <a:xfrm>
            <a:off x="5293603" y="1745910"/>
            <a:ext cx="6202767" cy="353240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2">
            <a:extLst>
              <a:ext uri="{FF2B5EF4-FFF2-40B4-BE49-F238E27FC236}">
                <a16:creationId xmlns:a16="http://schemas.microsoft.com/office/drawing/2014/main" id="{9E9CDBBB-33BA-4462-9EF9-38EB77F37539}"/>
              </a:ext>
            </a:extLst>
          </p:cNvPr>
          <p:cNvSpPr>
            <a:spLocks noGrp="1"/>
          </p:cNvSpPr>
          <p:nvPr>
            <p:ph sz="quarter" idx="11"/>
          </p:nvPr>
        </p:nvSpPr>
        <p:spPr>
          <a:xfrm>
            <a:off x="746744" y="2302808"/>
            <a:ext cx="3418857" cy="2152773"/>
          </a:xfrm>
        </p:spPr>
        <p:txBody>
          <a:bodyPr/>
          <a:lstStyle>
            <a:lvl1pPr>
              <a:defRPr sz="1465"/>
            </a:lvl1pPr>
            <a:lvl2pPr>
              <a:defRPr sz="1465"/>
            </a:lvl2pPr>
            <a:lvl3pPr>
              <a:defRPr sz="1465"/>
            </a:lvl3pPr>
            <a:lvl4pPr>
              <a:defRPr sz="1465"/>
            </a:lvl4pPr>
            <a:lvl5pPr>
              <a:defRPr sz="146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6">
            <a:extLst>
              <a:ext uri="{FF2B5EF4-FFF2-40B4-BE49-F238E27FC236}">
                <a16:creationId xmlns:a16="http://schemas.microsoft.com/office/drawing/2014/main" id="{276A7974-A5D0-4701-BE47-FF2BB0044BCA}"/>
              </a:ext>
            </a:extLst>
          </p:cNvPr>
          <p:cNvSpPr>
            <a:spLocks noGrp="1"/>
          </p:cNvSpPr>
          <p:nvPr>
            <p:ph type="pic" sz="quarter" idx="18"/>
          </p:nvPr>
        </p:nvSpPr>
        <p:spPr>
          <a:xfrm>
            <a:off x="242541" y="531791"/>
            <a:ext cx="402336" cy="401964"/>
          </a:xfrm>
          <a:prstGeom prst="ellipse">
            <a:avLst/>
          </a:prstGeom>
        </p:spPr>
        <p:txBody>
          <a:bodyPr anchor="ctr"/>
          <a:lstStyle>
            <a:lvl1pPr algn="ctr">
              <a:defRPr sz="666"/>
            </a:lvl1pPr>
          </a:lstStyle>
          <a:p>
            <a:endParaRPr lang="en-US" dirty="0"/>
          </a:p>
        </p:txBody>
      </p:sp>
    </p:spTree>
    <p:extLst>
      <p:ext uri="{BB962C8B-B14F-4D97-AF65-F5344CB8AC3E}">
        <p14:creationId xmlns:p14="http://schemas.microsoft.com/office/powerpoint/2010/main" val="37613653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2_Title Only">
    <p:spTree>
      <p:nvGrpSpPr>
        <p:cNvPr id="1" name=""/>
        <p:cNvGrpSpPr/>
        <p:nvPr/>
      </p:nvGrpSpPr>
      <p:grpSpPr>
        <a:xfrm>
          <a:off x="0" y="0"/>
          <a:ext cx="0" cy="0"/>
          <a:chOff x="0" y="0"/>
          <a:chExt cx="0" cy="0"/>
        </a:xfrm>
      </p:grpSpPr>
      <p:pic>
        <p:nvPicPr>
          <p:cNvPr id="2" name="Picture 11">
            <a:extLst>
              <a:ext uri="{FF2B5EF4-FFF2-40B4-BE49-F238E27FC236}">
                <a16:creationId xmlns:a16="http://schemas.microsoft.com/office/drawing/2014/main" id="{C7BCFA01-C13F-41BC-9DDB-818718EB9459}"/>
              </a:ext>
            </a:extLst>
          </p:cNvPr>
          <p:cNvPicPr>
            <a:picLocks noChangeAspect="1"/>
          </p:cNvPicPr>
          <p:nvPr/>
        </p:nvPicPr>
        <p:blipFill>
          <a:blip r:embed="rId2"/>
          <a:srcRect t="90158"/>
          <a:stretch>
            <a:fillRect/>
          </a:stretch>
        </p:blipFill>
        <p:spPr>
          <a:xfrm>
            <a:off x="3" y="6183036"/>
            <a:ext cx="12192007" cy="674964"/>
          </a:xfrm>
          <a:prstGeom prst="rect">
            <a:avLst/>
          </a:prstGeom>
          <a:noFill/>
          <a:ln cap="flat">
            <a:noFill/>
          </a:ln>
        </p:spPr>
      </p:pic>
      <p:pic>
        <p:nvPicPr>
          <p:cNvPr id="3" name="Picture 10">
            <a:extLst>
              <a:ext uri="{FF2B5EF4-FFF2-40B4-BE49-F238E27FC236}">
                <a16:creationId xmlns:a16="http://schemas.microsoft.com/office/drawing/2014/main" id="{16FABCCA-B13C-458C-926C-6D8309BE3DE2}"/>
              </a:ext>
            </a:extLst>
          </p:cNvPr>
          <p:cNvPicPr>
            <a:picLocks noChangeAspect="1"/>
          </p:cNvPicPr>
          <p:nvPr/>
        </p:nvPicPr>
        <p:blipFill>
          <a:blip r:embed="rId2"/>
          <a:srcRect l="47556" t="5432" r="1222" b="66667"/>
          <a:stretch>
            <a:fillRect/>
          </a:stretch>
        </p:blipFill>
        <p:spPr>
          <a:xfrm>
            <a:off x="7223645" y="1"/>
            <a:ext cx="4968364" cy="1913464"/>
          </a:xfrm>
          <a:prstGeom prst="rect">
            <a:avLst/>
          </a:prstGeom>
          <a:noFill/>
          <a:ln cap="flat">
            <a:noFill/>
          </a:ln>
        </p:spPr>
      </p:pic>
      <p:sp>
        <p:nvSpPr>
          <p:cNvPr id="4" name="Title 1">
            <a:extLst>
              <a:ext uri="{FF2B5EF4-FFF2-40B4-BE49-F238E27FC236}">
                <a16:creationId xmlns:a16="http://schemas.microsoft.com/office/drawing/2014/main" id="{826E2B15-AFED-4278-9731-8A858D7951A9}"/>
              </a:ext>
            </a:extLst>
          </p:cNvPr>
          <p:cNvSpPr txBox="1">
            <a:spLocks noGrp="1"/>
          </p:cNvSpPr>
          <p:nvPr>
            <p:ph type="title"/>
          </p:nvPr>
        </p:nvSpPr>
        <p:spPr>
          <a:xfrm>
            <a:off x="501804" y="258884"/>
            <a:ext cx="11196709" cy="644688"/>
          </a:xfrm>
        </p:spPr>
        <p:txBody>
          <a:bodyPr/>
          <a:lstStyle>
            <a:lvl1pPr>
              <a:defRPr/>
            </a:lvl1pPr>
          </a:lstStyle>
          <a:p>
            <a:pPr lvl="0"/>
            <a:r>
              <a:rPr lang="en-US"/>
              <a:t>Click to edit Master title style</a:t>
            </a:r>
          </a:p>
        </p:txBody>
      </p:sp>
      <p:sp>
        <p:nvSpPr>
          <p:cNvPr id="5" name="Slide Number Placeholder 4">
            <a:extLst>
              <a:ext uri="{FF2B5EF4-FFF2-40B4-BE49-F238E27FC236}">
                <a16:creationId xmlns:a16="http://schemas.microsoft.com/office/drawing/2014/main" id="{7287269C-FFC2-49ED-8304-58A62B6F0910}"/>
              </a:ext>
            </a:extLst>
          </p:cNvPr>
          <p:cNvSpPr txBox="1">
            <a:spLocks noGrp="1"/>
          </p:cNvSpPr>
          <p:nvPr>
            <p:ph type="sldNum" sz="quarter" idx="8"/>
          </p:nvPr>
        </p:nvSpPr>
        <p:spPr>
          <a:xfrm>
            <a:off x="11427579" y="6492883"/>
            <a:ext cx="764420" cy="365130"/>
          </a:xfrm>
          <a:prstGeom prst="rect">
            <a:avLst/>
          </a:prstGeom>
          <a:noFill/>
          <a:ln>
            <a:noFill/>
          </a:ln>
        </p:spPr>
        <p:txBody>
          <a:bodyPr vert="horz" wrap="square" lIns="91440" tIns="45720" rIns="91440" bIns="45720" anchor="t" anchorCtr="0" compatLnSpc="1">
            <a:noAutofit/>
          </a:bodyPr>
          <a:lstStyle>
            <a:lvl1pPr marL="0" marR="0" lvl="0" indent="0" algn="l" defTabSz="913532" rtl="0" fontAlgn="auto" hangingPunct="1">
              <a:lnSpc>
                <a:spcPct val="100000"/>
              </a:lnSpc>
              <a:spcBef>
                <a:spcPts val="0"/>
              </a:spcBef>
              <a:spcAft>
                <a:spcPts val="0"/>
              </a:spcAft>
              <a:buNone/>
              <a:tabLst/>
              <a:defRPr lang="en-US" sz="1798" b="0" i="0" u="none" strike="noStrike" kern="1200" cap="none" spc="0" baseline="0">
                <a:solidFill>
                  <a:srgbClr val="2573BA"/>
                </a:solidFill>
                <a:uFillTx/>
                <a:latin typeface="Arial"/>
              </a:defRPr>
            </a:lvl1pPr>
          </a:lstStyle>
          <a:p>
            <a:pPr lvl="0"/>
            <a:fld id="{6DDED6D5-9258-4BA6-B2E0-3B505A1F39F2}" type="slidenum">
              <a:t>‹#›</a:t>
            </a:fld>
            <a:endParaRPr lang="en-US" dirty="0"/>
          </a:p>
        </p:txBody>
      </p:sp>
      <p:sp>
        <p:nvSpPr>
          <p:cNvPr id="6" name="Rectangle 5">
            <a:extLst>
              <a:ext uri="{FF2B5EF4-FFF2-40B4-BE49-F238E27FC236}">
                <a16:creationId xmlns:a16="http://schemas.microsoft.com/office/drawing/2014/main" id="{2C317464-8A82-472C-96F1-1E153C819D28}"/>
              </a:ext>
            </a:extLst>
          </p:cNvPr>
          <p:cNvSpPr/>
          <p:nvPr/>
        </p:nvSpPr>
        <p:spPr>
          <a:xfrm>
            <a:off x="3" y="12"/>
            <a:ext cx="12191996" cy="96761"/>
          </a:xfrm>
          <a:prstGeom prst="rect">
            <a:avLst/>
          </a:prstGeom>
          <a:solidFill>
            <a:srgbClr val="005B7F"/>
          </a:solidFill>
          <a:ln cap="flat">
            <a:noFill/>
            <a:prstDash val="solid"/>
          </a:ln>
          <a:effectLst>
            <a:outerShdw dist="38103" dir="5400000" algn="tl">
              <a:srgbClr val="000000">
                <a:alpha val="20000"/>
              </a:srgbClr>
            </a:outerShdw>
          </a:effectLst>
        </p:spPr>
        <p:txBody>
          <a:bodyPr vert="horz" wrap="square" lIns="91355" tIns="45678" rIns="91355" bIns="45678" anchor="ctr" anchorCtr="1" compatLnSpc="1">
            <a:noAutofit/>
          </a:bodyPr>
          <a:lstStyle/>
          <a:p>
            <a:pPr marL="0" marR="0" lvl="0" indent="0" algn="ctr" defTabSz="913532"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857" b="0" i="0" u="none" strike="noStrike" kern="1200" cap="none" spc="0" baseline="0" dirty="0">
              <a:solidFill>
                <a:srgbClr val="FFFFFF"/>
              </a:solidFill>
              <a:uFillTx/>
              <a:latin typeface="Arial"/>
            </a:endParaRPr>
          </a:p>
        </p:txBody>
      </p:sp>
      <p:sp>
        <p:nvSpPr>
          <p:cNvPr id="7" name="Text Placeholder 6">
            <a:extLst>
              <a:ext uri="{FF2B5EF4-FFF2-40B4-BE49-F238E27FC236}">
                <a16:creationId xmlns:a16="http://schemas.microsoft.com/office/drawing/2014/main" id="{EEC0B77A-00C4-44ED-ABBE-9932D9A233A6}"/>
              </a:ext>
            </a:extLst>
          </p:cNvPr>
          <p:cNvSpPr txBox="1">
            <a:spLocks noGrp="1"/>
          </p:cNvSpPr>
          <p:nvPr>
            <p:ph type="body" idx="4294967295"/>
          </p:nvPr>
        </p:nvSpPr>
        <p:spPr>
          <a:xfrm>
            <a:off x="501807" y="722205"/>
            <a:ext cx="11188388" cy="745070"/>
          </a:xfrm>
        </p:spPr>
        <p:txBody>
          <a:bodyPr/>
          <a:lstStyle>
            <a:lvl1pPr>
              <a:spcBef>
                <a:spcPts val="300"/>
              </a:spcBef>
              <a:defRPr lang="en-US" sz="1407">
                <a:solidFill>
                  <a:srgbClr val="7F7F7F"/>
                </a:solidFill>
              </a:defRPr>
            </a:lvl1pPr>
          </a:lstStyle>
          <a:p>
            <a:pPr lvl="0"/>
            <a:r>
              <a:rPr lang="en-US"/>
              <a:t>Edit Master text styles</a:t>
            </a:r>
          </a:p>
        </p:txBody>
      </p:sp>
      <p:sp>
        <p:nvSpPr>
          <p:cNvPr id="8" name="TextBox 12">
            <a:extLst>
              <a:ext uri="{FF2B5EF4-FFF2-40B4-BE49-F238E27FC236}">
                <a16:creationId xmlns:a16="http://schemas.microsoft.com/office/drawing/2014/main" id="{B31413F4-E49A-4C2D-99AC-463E69FB5C1E}"/>
              </a:ext>
            </a:extLst>
          </p:cNvPr>
          <p:cNvSpPr txBox="1"/>
          <p:nvPr/>
        </p:nvSpPr>
        <p:spPr>
          <a:xfrm>
            <a:off x="13" y="6570741"/>
            <a:ext cx="12191996" cy="287259"/>
          </a:xfrm>
          <a:prstGeom prst="rect">
            <a:avLst/>
          </a:prstGeom>
          <a:noFill/>
          <a:ln cap="flat">
            <a:noFill/>
          </a:ln>
        </p:spPr>
        <p:txBody>
          <a:bodyPr vert="horz" wrap="square" lIns="80411" tIns="40205" rIns="80411" bIns="40205" anchor="b" anchorCtr="1" compatLnSpc="1">
            <a:noAutofit/>
          </a:bodyPr>
          <a:lstStyle/>
          <a:p>
            <a:pPr marL="0" marR="0" lvl="0" indent="0" algn="ctr" defTabSz="913532"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529" b="0" i="0" u="none" strike="noStrike" kern="1200" cap="none" spc="0" baseline="0" dirty="0">
                <a:solidFill>
                  <a:srgbClr val="7F7F7F"/>
                </a:solidFill>
                <a:uFillTx/>
                <a:latin typeface="Calibri Light" pitchFamily="34"/>
              </a:rPr>
              <a:t>Biogen Confidential and Proprietary - For Internal Use Only - Not to be Copied, Modified or Distributed Outside of Biogen</a:t>
            </a:r>
          </a:p>
        </p:txBody>
      </p:sp>
    </p:spTree>
    <p:extLst>
      <p:ext uri="{BB962C8B-B14F-4D97-AF65-F5344CB8AC3E}">
        <p14:creationId xmlns:p14="http://schemas.microsoft.com/office/powerpoint/2010/main" val="38274905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42EDCF7D-9269-AA4E-9E5E-747A6D3117D0}"/>
              </a:ext>
            </a:extLst>
          </p:cNvPr>
          <p:cNvSpPr>
            <a:spLocks noGrp="1"/>
          </p:cNvSpPr>
          <p:nvPr>
            <p:ph type="sldNum" sz="quarter" idx="4"/>
          </p:nvPr>
        </p:nvSpPr>
        <p:spPr>
          <a:xfrm>
            <a:off x="11753963" y="6507052"/>
            <a:ext cx="438036" cy="292608"/>
          </a:xfrm>
          <a:prstGeom prst="rect">
            <a:avLst/>
          </a:prstGeom>
        </p:spPr>
        <p:txBody>
          <a:bodyPr vert="horz" lIns="72000" tIns="45720" rIns="91440" bIns="45720" rtlCol="0" anchor="b"/>
          <a:lstStyle>
            <a:lvl1pPr algn="r">
              <a:defRPr sz="1066">
                <a:solidFill>
                  <a:schemeClr val="tx1">
                    <a:lumMod val="50000"/>
                  </a:schemeClr>
                </a:solidFill>
              </a:defRPr>
            </a:lvl1pPr>
          </a:lstStyle>
          <a:p>
            <a:fld id="{AD6BAA4E-5F47-E640-8B90-67FB6D90528D}" type="slidenum">
              <a:rPr lang="pt-BR" smtClean="0"/>
              <a:pPr/>
              <a:t>‹#›</a:t>
            </a:fld>
            <a:endParaRPr lang="pt-BR"/>
          </a:p>
        </p:txBody>
      </p:sp>
    </p:spTree>
    <p:extLst>
      <p:ext uri="{BB962C8B-B14F-4D97-AF65-F5344CB8AC3E}">
        <p14:creationId xmlns:p14="http://schemas.microsoft.com/office/powerpoint/2010/main" val="6759773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1805" y="36333"/>
            <a:ext cx="11521280" cy="644691"/>
          </a:xfrm>
        </p:spPr>
        <p:txBody>
          <a:bodyPr vert="horz" lIns="0" tIns="0" rIns="0" bIns="0" rtlCol="0" anchor="b">
            <a:noAutofit/>
          </a:bodyPr>
          <a:lstStyle>
            <a:lvl1pPr>
              <a:defRPr lang="en-US" sz="2197" noProof="0" dirty="0">
                <a:solidFill>
                  <a:srgbClr val="005CAB"/>
                </a:solidFill>
              </a:defRPr>
            </a:lvl1pPr>
          </a:lstStyle>
          <a:p>
            <a:pPr marL="0" lvl="0"/>
            <a:r>
              <a:rPr lang="en-US" noProof="0"/>
              <a:t>Click to edit Master title style</a:t>
            </a:r>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10"/>
          </p:nvPr>
        </p:nvSpPr>
        <p:spPr/>
        <p:txBody>
          <a:bodyPr/>
          <a:lstStyle/>
          <a:p>
            <a:endParaRPr lang="en-US" noProof="0" dirty="0"/>
          </a:p>
        </p:txBody>
      </p:sp>
      <p:sp>
        <p:nvSpPr>
          <p:cNvPr id="5" name="Footer Placeholder 4"/>
          <p:cNvSpPr>
            <a:spLocks noGrp="1"/>
          </p:cNvSpPr>
          <p:nvPr>
            <p:ph type="ftr" sz="quarter" idx="11"/>
          </p:nvPr>
        </p:nvSpPr>
        <p:spPr>
          <a:xfrm>
            <a:off x="2844800" y="6492877"/>
            <a:ext cx="6502400" cy="365125"/>
          </a:xfrm>
        </p:spPr>
        <p:txBody>
          <a:bodyPr/>
          <a:lstStyle/>
          <a:p>
            <a:r>
              <a:rPr lang="en-US" noProof="0" dirty="0"/>
              <a:t>Global SMA Metrics Tracker</a:t>
            </a:r>
          </a:p>
        </p:txBody>
      </p:sp>
      <p:sp>
        <p:nvSpPr>
          <p:cNvPr id="6" name="Slide Number Placeholder 5"/>
          <p:cNvSpPr>
            <a:spLocks noGrp="1"/>
          </p:cNvSpPr>
          <p:nvPr>
            <p:ph type="sldNum" sz="quarter" idx="12"/>
          </p:nvPr>
        </p:nvSpPr>
        <p:spPr/>
        <p:txBody>
          <a:bodyPr/>
          <a:lstStyle/>
          <a:p>
            <a:fld id="{7BD94FEC-5AF6-4BD6-96F5-0B410718B836}" type="slidenum">
              <a:rPr lang="en-US" noProof="0" smtClean="0"/>
              <a:t>‹#›</a:t>
            </a:fld>
            <a:endParaRPr lang="en-US" noProof="0" dirty="0"/>
          </a:p>
        </p:txBody>
      </p:sp>
    </p:spTree>
    <p:extLst>
      <p:ext uri="{BB962C8B-B14F-4D97-AF65-F5344CB8AC3E}">
        <p14:creationId xmlns:p14="http://schemas.microsoft.com/office/powerpoint/2010/main" val="1820714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358BFC06-4FF7-4407-A2C6-4CF816D82AAE}" type="slidenum">
              <a:rPr lang="en-US" smtClean="0"/>
              <a:pPr/>
              <a:t>‹#›</a:t>
            </a:fld>
            <a:endParaRPr lang="en-US" dirty="0"/>
          </a:p>
        </p:txBody>
      </p:sp>
      <p:sp>
        <p:nvSpPr>
          <p:cNvPr id="5" name="Content Placeholder 4"/>
          <p:cNvSpPr>
            <a:spLocks noGrp="1"/>
          </p:cNvSpPr>
          <p:nvPr>
            <p:ph sz="quarter" idx="11"/>
          </p:nvPr>
        </p:nvSpPr>
        <p:spPr>
          <a:xfrm>
            <a:off x="282959" y="1124461"/>
            <a:ext cx="11595100" cy="5019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54221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48AF601-67DF-4E89-A04A-C5561999728D}"/>
              </a:ext>
            </a:extLst>
          </p:cNvPr>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val="8406466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ubtitle &amp; content - Intern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DDF4-0565-424E-AFE7-6000EF98D79D}"/>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EE0AA4A-BDF6-5B4A-84AE-EDC943B6DD6B}"/>
              </a:ext>
            </a:extLst>
          </p:cNvPr>
          <p:cNvSpPr>
            <a:spLocks noGrp="1"/>
          </p:cNvSpPr>
          <p:nvPr>
            <p:ph type="body" sz="quarter" idx="10"/>
          </p:nvPr>
        </p:nvSpPr>
        <p:spPr>
          <a:xfrm>
            <a:off x="383396" y="889001"/>
            <a:ext cx="11425211" cy="453768"/>
          </a:xfrm>
        </p:spPr>
        <p:txBody>
          <a:bodyPr anchor="t">
            <a:noAutofit/>
          </a:bodyPr>
          <a:lstStyle>
            <a:lvl1pPr>
              <a:defRPr sz="2129" b="0">
                <a:solidFill>
                  <a:schemeClr val="accent2"/>
                </a:solidFill>
              </a:defRPr>
            </a:lvl1pPr>
          </a:lstStyle>
          <a:p>
            <a:pPr lvl="0"/>
            <a:r>
              <a:rPr lang="en-US"/>
              <a:t>Click to edit Master text styles</a:t>
            </a:r>
          </a:p>
        </p:txBody>
      </p:sp>
      <p:sp>
        <p:nvSpPr>
          <p:cNvPr id="5" name="Text Placeholder 4">
            <a:extLst>
              <a:ext uri="{FF2B5EF4-FFF2-40B4-BE49-F238E27FC236}">
                <a16:creationId xmlns:a16="http://schemas.microsoft.com/office/drawing/2014/main" id="{AE7F9D7D-4DBE-A14F-AD81-567BE16C2916}"/>
              </a:ext>
            </a:extLst>
          </p:cNvPr>
          <p:cNvSpPr>
            <a:spLocks noGrp="1"/>
          </p:cNvSpPr>
          <p:nvPr>
            <p:ph type="body" sz="quarter" idx="11"/>
          </p:nvPr>
        </p:nvSpPr>
        <p:spPr>
          <a:xfrm>
            <a:off x="383121" y="1342768"/>
            <a:ext cx="11425767" cy="4424242"/>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B6000F2D-D97D-A546-8BC8-24A155FBFEE2}"/>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64020187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3" name="Object 2"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450F434-67F3-4905-B6C6-3C87C5F9702D}"/>
              </a:ext>
            </a:extLst>
          </p:cNvPr>
          <p:cNvSpPr/>
          <p:nvPr userDrawn="1">
            <p:custDataLst>
              <p:tags r:id="rId2"/>
            </p:custDataLst>
          </p:nvPr>
        </p:nvSpPr>
        <p:spPr>
          <a:xfrm>
            <a:off x="2" y="1"/>
            <a:ext cx="158751" cy="1587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597"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32511" y="181201"/>
            <a:ext cx="11450783" cy="629291"/>
          </a:xfrm>
        </p:spPr>
        <p:txBody>
          <a:bodyPr/>
          <a:lstStyle/>
          <a:p>
            <a:r>
              <a:rPr lang="en-US"/>
              <a:t>Click to edit Master title style</a:t>
            </a:r>
          </a:p>
        </p:txBody>
      </p:sp>
    </p:spTree>
    <p:extLst>
      <p:ext uri="{BB962C8B-B14F-4D97-AF65-F5344CB8AC3E}">
        <p14:creationId xmlns:p14="http://schemas.microsoft.com/office/powerpoint/2010/main" val="1149017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8AE03F5-9C6C-426C-874A-B474C8F0AAE5}" type="slidenum">
              <a:rPr lang="en-US" smtClean="0"/>
              <a:t>‹#›</a:t>
            </a:fld>
            <a:endParaRPr lang="en-US" dirty="0"/>
          </a:p>
        </p:txBody>
      </p:sp>
      <p:sp>
        <p:nvSpPr>
          <p:cNvPr id="7" name="Title 6"/>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3"/>
          </p:nvPr>
        </p:nvSpPr>
        <p:spPr>
          <a:xfrm>
            <a:off x="728142" y="1039020"/>
            <a:ext cx="10453625" cy="3968496"/>
          </a:xfrm>
        </p:spPr>
        <p:txBody>
          <a:bodyPr/>
          <a:lstStyle>
            <a:lvl1pPr marL="226593" indent="-226593">
              <a:lnSpc>
                <a:spcPct val="100000"/>
              </a:lnSpc>
              <a:spcBef>
                <a:spcPts val="598"/>
              </a:spcBef>
              <a:spcAft>
                <a:spcPts val="0"/>
              </a:spcAft>
              <a:buFont typeface="Arial" panose="020B0604020202020204" pitchFamily="34" charset="0"/>
              <a:buChar char="•"/>
              <a:defRPr>
                <a:solidFill>
                  <a:schemeClr val="accent1"/>
                </a:solidFill>
              </a:defRPr>
            </a:lvl1pPr>
            <a:lvl2pPr marL="516568" indent="-177472">
              <a:lnSpc>
                <a:spcPct val="100000"/>
              </a:lnSpc>
              <a:spcBef>
                <a:spcPts val="598"/>
              </a:spcBef>
              <a:spcAft>
                <a:spcPts val="0"/>
              </a:spcAft>
              <a:buFont typeface="Arial" panose="020B0604020202020204" pitchFamily="34" charset="0"/>
              <a:buChar char="•"/>
              <a:defRPr>
                <a:solidFill>
                  <a:schemeClr val="accent1"/>
                </a:solidFill>
              </a:defRPr>
            </a:lvl2pPr>
            <a:lvl3pPr marL="803375" indent="-118843">
              <a:lnSpc>
                <a:spcPct val="100000"/>
              </a:lnSpc>
              <a:spcBef>
                <a:spcPts val="598"/>
              </a:spcBef>
              <a:spcAft>
                <a:spcPts val="0"/>
              </a:spcAft>
              <a:buFont typeface="Arial" panose="020B0604020202020204" pitchFamily="34" charset="0"/>
              <a:buChar char="•"/>
              <a:defRPr>
                <a:solidFill>
                  <a:schemeClr val="accent1"/>
                </a:solidFill>
              </a:defRPr>
            </a:lvl3pPr>
            <a:lvl4pPr marL="1140886" indent="-109336">
              <a:lnSpc>
                <a:spcPct val="100000"/>
              </a:lnSpc>
              <a:spcBef>
                <a:spcPts val="598"/>
              </a:spcBef>
              <a:spcAft>
                <a:spcPts val="0"/>
              </a:spcAft>
              <a:buFont typeface="Arial" panose="020B0604020202020204" pitchFamily="34" charset="0"/>
              <a:buChar char="•"/>
              <a:defRPr>
                <a:solidFill>
                  <a:schemeClr val="accent1"/>
                </a:solidFill>
              </a:defRPr>
            </a:lvl4pPr>
            <a:lvl5pPr>
              <a:spcBef>
                <a:spcPts val="598"/>
              </a:spcBef>
              <a:spcAft>
                <a:spcPts val="598"/>
              </a:spcAf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9407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892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87EB4E-BE33-45FE-9DAE-FE0B52EAC965}"/>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ED306AF1-384D-44CF-BD5F-5C50A112EF10}"/>
              </a:ext>
            </a:extLst>
          </p:cNvPr>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BF2BD9CB-D96D-4407-80E2-464538D45F6D}"/>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F8D92C37-AF66-47DB-8ACE-F0C12AAEC3E1}"/>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5BA093D8-4B8A-4EBD-A5D4-C8040941E027}"/>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919812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31BD6F-64B9-470A-88C5-25C1D6785AE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1EB658D7-AA5A-43E6-B637-663801C5B2E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D3A464EC-B2D8-4FE2-A0B4-924661A3057D}"/>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5" name="页脚占位符 4">
            <a:extLst>
              <a:ext uri="{FF2B5EF4-FFF2-40B4-BE49-F238E27FC236}">
                <a16:creationId xmlns:a16="http://schemas.microsoft.com/office/drawing/2014/main" id="{0499CDB0-98FA-4E95-806D-C2E55182AC7A}"/>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a:extLst>
              <a:ext uri="{FF2B5EF4-FFF2-40B4-BE49-F238E27FC236}">
                <a16:creationId xmlns:a16="http://schemas.microsoft.com/office/drawing/2014/main" id="{D1C5B52F-4D74-454F-99EA-2E904833BBBC}"/>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13740398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D12F7D-6E4A-4892-B413-2787B04B5AED}"/>
              </a:ext>
            </a:extLst>
          </p:cNvPr>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613FC85-E9CE-4C95-A01F-0DF33E08256A}"/>
              </a:ext>
            </a:extLst>
          </p:cNvPr>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8D5C5A99-1553-4081-BD9F-F363A952DFE5}"/>
              </a:ext>
            </a:extLst>
          </p:cNvPr>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441C2FB5-21E4-43B8-B6AE-049F968841BD}"/>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6" name="页脚占位符 5">
            <a:extLst>
              <a:ext uri="{FF2B5EF4-FFF2-40B4-BE49-F238E27FC236}">
                <a16:creationId xmlns:a16="http://schemas.microsoft.com/office/drawing/2014/main" id="{6CB78B9C-093D-4AFC-A03A-CD2B785F5508}"/>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a:extLst>
              <a:ext uri="{FF2B5EF4-FFF2-40B4-BE49-F238E27FC236}">
                <a16:creationId xmlns:a16="http://schemas.microsoft.com/office/drawing/2014/main" id="{68712DF8-53CA-4347-B2D6-554CF3399F2B}"/>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1490519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5B7DD3-F4DB-4034-834C-8F0B5F202D19}"/>
              </a:ext>
            </a:extLst>
          </p:cNvPr>
          <p:cNvSpPr>
            <a:spLocks noGrp="1"/>
          </p:cNvSpPr>
          <p:nvPr>
            <p:ph type="title"/>
          </p:nvPr>
        </p:nvSpPr>
        <p:spPr>
          <a:xfrm>
            <a:off x="839788" y="365125"/>
            <a:ext cx="10515600" cy="1325563"/>
          </a:xfrm>
          <a:prstGeom prst="rect">
            <a:avLst/>
          </a:prstGeo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B97F7A8D-2A04-412D-BAEA-B2F9ECBA411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8A67FC8C-68D8-414C-B845-07A34175A07A}"/>
              </a:ext>
            </a:extLst>
          </p:cNvPr>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47E809D1-0AC6-45C5-B245-DDF237F76FED}"/>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480FD6B9-7181-4F94-9465-8B2AE854C34F}"/>
              </a:ext>
            </a:extLst>
          </p:cNvPr>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BEFAE175-421B-451C-8B2A-8D13A6BE6658}"/>
              </a:ext>
            </a:extLst>
          </p:cNvPr>
          <p:cNvSpPr>
            <a:spLocks noGrp="1"/>
          </p:cNvSpPr>
          <p:nvPr>
            <p:ph type="dt" sz="half" idx="10"/>
          </p:nvPr>
        </p:nvSpPr>
        <p:spPr>
          <a:xfrm>
            <a:off x="838200" y="6356350"/>
            <a:ext cx="2743200" cy="365125"/>
          </a:xfrm>
          <a:prstGeom prst="rect">
            <a:avLst/>
          </a:prstGeom>
        </p:spPr>
        <p:txBody>
          <a:bodyPr/>
          <a:lstStyle/>
          <a:p>
            <a:fld id="{7935E7DC-6FEE-43D3-862A-499A0638FA2D}" type="datetimeFigureOut">
              <a:rPr lang="zh-CN" altLang="en-US" smtClean="0"/>
              <a:t>2022/7/13</a:t>
            </a:fld>
            <a:endParaRPr lang="zh-CN" altLang="en-US"/>
          </a:p>
        </p:txBody>
      </p:sp>
      <p:sp>
        <p:nvSpPr>
          <p:cNvPr id="8" name="页脚占位符 7">
            <a:extLst>
              <a:ext uri="{FF2B5EF4-FFF2-40B4-BE49-F238E27FC236}">
                <a16:creationId xmlns:a16="http://schemas.microsoft.com/office/drawing/2014/main" id="{78C9C441-F08F-4811-92DB-C07B00FFD297}"/>
              </a:ext>
            </a:extLst>
          </p:cNvPr>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a:extLst>
              <a:ext uri="{FF2B5EF4-FFF2-40B4-BE49-F238E27FC236}">
                <a16:creationId xmlns:a16="http://schemas.microsoft.com/office/drawing/2014/main" id="{CE214E11-D55A-4DE7-8DBE-F736F7FD8E73}"/>
              </a:ext>
            </a:extLst>
          </p:cNvPr>
          <p:cNvSpPr>
            <a:spLocks noGrp="1"/>
          </p:cNvSpPr>
          <p:nvPr>
            <p:ph type="sldNum" sz="quarter" idx="12"/>
          </p:nvPr>
        </p:nvSpPr>
        <p:spPr>
          <a:xfrm>
            <a:off x="8610600" y="6356350"/>
            <a:ext cx="2743200" cy="365125"/>
          </a:xfrm>
          <a:prstGeom prst="rect">
            <a:avLst/>
          </a:prstGeom>
        </p:spPr>
        <p:txBody>
          <a:bodyPr/>
          <a:lstStyle/>
          <a:p>
            <a:fld id="{A8A3C290-0A75-4CDE-9EE8-708560EBAC62}" type="slidenum">
              <a:rPr lang="zh-CN" altLang="en-US" smtClean="0"/>
              <a:t>‹#›</a:t>
            </a:fld>
            <a:endParaRPr lang="zh-CN" altLang="en-US"/>
          </a:p>
        </p:txBody>
      </p:sp>
    </p:spTree>
    <p:extLst>
      <p:ext uri="{BB962C8B-B14F-4D97-AF65-F5344CB8AC3E}">
        <p14:creationId xmlns:p14="http://schemas.microsoft.com/office/powerpoint/2010/main" val="838224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4.png"/><Relationship Id="rId5" Type="http://schemas.openxmlformats.org/officeDocument/2006/relationships/theme" Target="../theme/theme1.xml"/><Relationship Id="rId10"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3.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1.emf"/><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tags" Target="../tags/tag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image" Target="../media/image8.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7.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CAD71DDE-2F5F-1C6E-3E18-2F317E3D5C0F}"/>
              </a:ext>
            </a:extLst>
          </p:cNvPr>
          <p:cNvGraphicFramePr>
            <a:graphicFrameLocks noChangeAspect="1"/>
          </p:cNvGraphicFramePr>
          <p:nvPr userDrawn="1">
            <p:custDataLst>
              <p:tags r:id="rId6"/>
            </p:custDataLst>
            <p:extLst>
              <p:ext uri="{D42A27DB-BD31-4B8C-83A1-F6EECF244321}">
                <p14:modId xmlns:p14="http://schemas.microsoft.com/office/powerpoint/2010/main" val="213219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395" imgH="396" progId="TCLayout.ActiveDocument.1">
                  <p:embed/>
                </p:oleObj>
              </mc:Choice>
              <mc:Fallback>
                <p:oleObj name="think-cell 幻灯片" r:id="rId7" imgW="395" imgH="396" progId="TCLayout.ActiveDocument.1">
                  <p:embed/>
                  <p:pic>
                    <p:nvPicPr>
                      <p:cNvPr id="7" name="对象 6" hidden="1">
                        <a:extLst>
                          <a:ext uri="{FF2B5EF4-FFF2-40B4-BE49-F238E27FC236}">
                            <a16:creationId xmlns:a16="http://schemas.microsoft.com/office/drawing/2014/main" id="{CAD71DDE-2F5F-1C6E-3E18-2F317E3D5C0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193380" y="73025"/>
            <a:ext cx="10515600" cy="498475"/>
          </a:xfrm>
          <a:prstGeom prst="rect">
            <a:avLst/>
          </a:prstGeom>
        </p:spPr>
        <p:txBody>
          <a:bodyPr vert="horz" lIns="91440" tIns="45720" rIns="91440" bIns="45720" rtlCol="0" anchor="ctr">
            <a:normAutofit/>
          </a:bodyPr>
          <a:lstStyle/>
          <a:p>
            <a:r>
              <a:rPr lang="zh-CN" altLang="en-US" dirty="0"/>
              <a:t>单击此处编辑母版标题样式</a:t>
            </a:r>
          </a:p>
        </p:txBody>
      </p:sp>
      <p:pic>
        <p:nvPicPr>
          <p:cNvPr id="8" name="Picture 12" descr="A close up of a coral&#10;&#10;Description automatically generated">
            <a:extLst>
              <a:ext uri="{FF2B5EF4-FFF2-40B4-BE49-F238E27FC236}">
                <a16:creationId xmlns:a16="http://schemas.microsoft.com/office/drawing/2014/main" id="{233613E1-0FD3-801E-A05C-9A85B29810B3}"/>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0" y="6267980"/>
            <a:ext cx="12192000" cy="590021"/>
          </a:xfrm>
          <a:prstGeom prst="rect">
            <a:avLst/>
          </a:prstGeom>
        </p:spPr>
      </p:pic>
      <p:pic>
        <p:nvPicPr>
          <p:cNvPr id="9" name="Picture 14">
            <a:extLst>
              <a:ext uri="{FF2B5EF4-FFF2-40B4-BE49-F238E27FC236}">
                <a16:creationId xmlns:a16="http://schemas.microsoft.com/office/drawing/2014/main" id="{A4CBF126-BB7E-58AA-0280-C9323DCF8585}"/>
              </a:ext>
            </a:extLst>
          </p:cNvPr>
          <p:cNvPicPr>
            <a:picLocks noChangeAspect="1"/>
          </p:cNvPicPr>
          <p:nvPr userDrawn="1"/>
        </p:nvPicPr>
        <p:blipFill>
          <a:blip r:embed="rId10"/>
          <a:stretch>
            <a:fillRect/>
          </a:stretch>
        </p:blipFill>
        <p:spPr>
          <a:xfrm>
            <a:off x="508000" y="6393359"/>
            <a:ext cx="1846317" cy="340621"/>
          </a:xfrm>
          <a:prstGeom prst="rect">
            <a:avLst/>
          </a:prstGeom>
        </p:spPr>
      </p:pic>
      <p:pic>
        <p:nvPicPr>
          <p:cNvPr id="10" name="Picture 17">
            <a:extLst>
              <a:ext uri="{FF2B5EF4-FFF2-40B4-BE49-F238E27FC236}">
                <a16:creationId xmlns:a16="http://schemas.microsoft.com/office/drawing/2014/main" id="{B87436EC-694F-42BA-C0B0-C96C668C8DAF}"/>
              </a:ext>
            </a:extLst>
          </p:cNvPr>
          <p:cNvPicPr>
            <a:picLocks noChangeAspect="1"/>
          </p:cNvPicPr>
          <p:nvPr userDrawn="1"/>
        </p:nvPicPr>
        <p:blipFill rotWithShape="1">
          <a:blip r:embed="rId11"/>
          <a:srcRect t="18253" b="18253"/>
          <a:stretch/>
        </p:blipFill>
        <p:spPr>
          <a:xfrm>
            <a:off x="10708980" y="6320189"/>
            <a:ext cx="1131653" cy="436256"/>
          </a:xfrm>
          <a:prstGeom prst="rect">
            <a:avLst/>
          </a:prstGeom>
        </p:spPr>
      </p:pic>
      <p:sp>
        <p:nvSpPr>
          <p:cNvPr id="13" name="矩形 12">
            <a:extLst>
              <a:ext uri="{FF2B5EF4-FFF2-40B4-BE49-F238E27FC236}">
                <a16:creationId xmlns:a16="http://schemas.microsoft.com/office/drawing/2014/main" id="{44B62865-E591-EE2E-BDEC-B0BCE707F558}"/>
              </a:ext>
            </a:extLst>
          </p:cNvPr>
          <p:cNvSpPr/>
          <p:nvPr userDrawn="1"/>
        </p:nvSpPr>
        <p:spPr>
          <a:xfrm flipV="1">
            <a:off x="571499" y="547245"/>
            <a:ext cx="11671301" cy="76463"/>
          </a:xfrm>
          <a:custGeom>
            <a:avLst/>
            <a:gdLst>
              <a:gd name="connsiteX0" fmla="*/ 0 w 11671301"/>
              <a:gd name="connsiteY0" fmla="*/ 0 h 57592"/>
              <a:gd name="connsiteX1" fmla="*/ 11671301 w 11671301"/>
              <a:gd name="connsiteY1" fmla="*/ 0 h 57592"/>
              <a:gd name="connsiteX2" fmla="*/ 11671301 w 11671301"/>
              <a:gd name="connsiteY2" fmla="*/ 57592 h 57592"/>
              <a:gd name="connsiteX3" fmla="*/ 0 w 11671301"/>
              <a:gd name="connsiteY3" fmla="*/ 57592 h 57592"/>
              <a:gd name="connsiteX4" fmla="*/ 0 w 11671301"/>
              <a:gd name="connsiteY4" fmla="*/ 0 h 57592"/>
              <a:gd name="connsiteX0" fmla="*/ 30957 w 11671301"/>
              <a:gd name="connsiteY0" fmla="*/ 0 h 57592"/>
              <a:gd name="connsiteX1" fmla="*/ 11671301 w 11671301"/>
              <a:gd name="connsiteY1" fmla="*/ 0 h 57592"/>
              <a:gd name="connsiteX2" fmla="*/ 11671301 w 11671301"/>
              <a:gd name="connsiteY2" fmla="*/ 57592 h 57592"/>
              <a:gd name="connsiteX3" fmla="*/ 0 w 11671301"/>
              <a:gd name="connsiteY3" fmla="*/ 57592 h 57592"/>
              <a:gd name="connsiteX4" fmla="*/ 30957 w 11671301"/>
              <a:gd name="connsiteY4" fmla="*/ 0 h 5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1301" h="57592">
                <a:moveTo>
                  <a:pt x="30957" y="0"/>
                </a:moveTo>
                <a:lnTo>
                  <a:pt x="11671301" y="0"/>
                </a:lnTo>
                <a:lnTo>
                  <a:pt x="11671301" y="57592"/>
                </a:lnTo>
                <a:lnTo>
                  <a:pt x="0" y="57592"/>
                </a:lnTo>
                <a:lnTo>
                  <a:pt x="30957" y="0"/>
                </a:lnTo>
                <a:close/>
              </a:path>
            </a:pathLst>
          </a:custGeom>
          <a:gradFill>
            <a:gsLst>
              <a:gs pos="6195">
                <a:srgbClr val="2473BA">
                  <a:alpha val="0"/>
                </a:srgbClr>
              </a:gs>
              <a:gs pos="35000">
                <a:srgbClr val="2473BA">
                  <a:alpha val="49000"/>
                </a:srgbClr>
              </a:gs>
              <a:gs pos="100000">
                <a:schemeClr val="accent5">
                  <a:lumMod val="7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3" name="矩形 2">
            <a:extLst>
              <a:ext uri="{FF2B5EF4-FFF2-40B4-BE49-F238E27FC236}">
                <a16:creationId xmlns:a16="http://schemas.microsoft.com/office/drawing/2014/main" id="{5346230B-ACBE-64DE-CECA-A672577488C4}"/>
              </a:ext>
            </a:extLst>
          </p:cNvPr>
          <p:cNvSpPr/>
          <p:nvPr userDrawn="1"/>
        </p:nvSpPr>
        <p:spPr>
          <a:xfrm>
            <a:off x="1" y="547245"/>
            <a:ext cx="565269" cy="76463"/>
          </a:xfrm>
          <a:custGeom>
            <a:avLst/>
            <a:gdLst>
              <a:gd name="connsiteX0" fmla="*/ 0 w 534313"/>
              <a:gd name="connsiteY0" fmla="*/ 0 h 57592"/>
              <a:gd name="connsiteX1" fmla="*/ 534313 w 534313"/>
              <a:gd name="connsiteY1" fmla="*/ 0 h 57592"/>
              <a:gd name="connsiteX2" fmla="*/ 534313 w 534313"/>
              <a:gd name="connsiteY2" fmla="*/ 57592 h 57592"/>
              <a:gd name="connsiteX3" fmla="*/ 0 w 534313"/>
              <a:gd name="connsiteY3" fmla="*/ 57592 h 57592"/>
              <a:gd name="connsiteX4" fmla="*/ 0 w 534313"/>
              <a:gd name="connsiteY4" fmla="*/ 0 h 57592"/>
              <a:gd name="connsiteX0" fmla="*/ 0 w 562888"/>
              <a:gd name="connsiteY0" fmla="*/ 0 h 57592"/>
              <a:gd name="connsiteX1" fmla="*/ 534313 w 562888"/>
              <a:gd name="connsiteY1" fmla="*/ 0 h 57592"/>
              <a:gd name="connsiteX2" fmla="*/ 562888 w 562888"/>
              <a:gd name="connsiteY2" fmla="*/ 55211 h 57592"/>
              <a:gd name="connsiteX3" fmla="*/ 0 w 562888"/>
              <a:gd name="connsiteY3" fmla="*/ 57592 h 57592"/>
              <a:gd name="connsiteX4" fmla="*/ 0 w 562888"/>
              <a:gd name="connsiteY4" fmla="*/ 0 h 57592"/>
              <a:gd name="connsiteX0" fmla="*/ 0 w 562888"/>
              <a:gd name="connsiteY0" fmla="*/ 0 h 62355"/>
              <a:gd name="connsiteX1" fmla="*/ 534313 w 562888"/>
              <a:gd name="connsiteY1" fmla="*/ 0 h 62355"/>
              <a:gd name="connsiteX2" fmla="*/ 562888 w 562888"/>
              <a:gd name="connsiteY2" fmla="*/ 62355 h 62355"/>
              <a:gd name="connsiteX3" fmla="*/ 0 w 562888"/>
              <a:gd name="connsiteY3" fmla="*/ 57592 h 62355"/>
              <a:gd name="connsiteX4" fmla="*/ 0 w 562888"/>
              <a:gd name="connsiteY4" fmla="*/ 0 h 62355"/>
              <a:gd name="connsiteX0" fmla="*/ 0 w 565269"/>
              <a:gd name="connsiteY0" fmla="*/ 0 h 57592"/>
              <a:gd name="connsiteX1" fmla="*/ 534313 w 565269"/>
              <a:gd name="connsiteY1" fmla="*/ 0 h 57592"/>
              <a:gd name="connsiteX2" fmla="*/ 565269 w 565269"/>
              <a:gd name="connsiteY2" fmla="*/ 57592 h 57592"/>
              <a:gd name="connsiteX3" fmla="*/ 0 w 565269"/>
              <a:gd name="connsiteY3" fmla="*/ 57592 h 57592"/>
              <a:gd name="connsiteX4" fmla="*/ 0 w 565269"/>
              <a:gd name="connsiteY4" fmla="*/ 0 h 5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269" h="57592">
                <a:moveTo>
                  <a:pt x="0" y="0"/>
                </a:moveTo>
                <a:lnTo>
                  <a:pt x="534313" y="0"/>
                </a:lnTo>
                <a:lnTo>
                  <a:pt x="565269" y="57592"/>
                </a:lnTo>
                <a:lnTo>
                  <a:pt x="0" y="57592"/>
                </a:lnTo>
                <a:lnTo>
                  <a:pt x="0" y="0"/>
                </a:lnTo>
                <a:close/>
              </a:path>
            </a:pathLst>
          </a:custGeom>
          <a:solidFill>
            <a:srgbClr val="429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07493242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xStyles>
    <p:titleStyle>
      <a:lvl1pPr algn="l" defTabSz="914400" rtl="0" eaLnBrk="1" latinLnBrk="0" hangingPunct="1">
        <a:lnSpc>
          <a:spcPct val="90000"/>
        </a:lnSpc>
        <a:spcBef>
          <a:spcPct val="0"/>
        </a:spcBef>
        <a:buNone/>
        <a:defRPr sz="3200" b="1" kern="1200">
          <a:solidFill>
            <a:srgbClr val="2473B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55E45341-9C99-38F4-8C30-2FB8C3B7F621}"/>
              </a:ext>
            </a:extLst>
          </p:cNvPr>
          <p:cNvGraphicFramePr>
            <a:graphicFrameLocks noChangeAspect="1"/>
          </p:cNvGraphicFramePr>
          <p:nvPr userDrawn="1">
            <p:custDataLst>
              <p:tags r:id="rId13"/>
            </p:custDataLst>
            <p:extLst>
              <p:ext uri="{D42A27DB-BD31-4B8C-83A1-F6EECF244321}">
                <p14:modId xmlns:p14="http://schemas.microsoft.com/office/powerpoint/2010/main" val="241098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395" imgH="396" progId="TCLayout.ActiveDocument.1">
                  <p:embed/>
                </p:oleObj>
              </mc:Choice>
              <mc:Fallback>
                <p:oleObj name="think-cell 幻灯片" r:id="rId14" imgW="395" imgH="396" progId="TCLayout.ActiveDocument.1">
                  <p:embed/>
                  <p:pic>
                    <p:nvPicPr>
                      <p:cNvPr id="2" name="对象 1" hidden="1">
                        <a:extLst>
                          <a:ext uri="{FF2B5EF4-FFF2-40B4-BE49-F238E27FC236}">
                            <a16:creationId xmlns:a16="http://schemas.microsoft.com/office/drawing/2014/main" id="{55E45341-9C99-38F4-8C30-2FB8C3B7F62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2336696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3EA4F7-AB8E-4D53-8F6F-6D75CC2267BE}"/>
              </a:ext>
            </a:extLst>
          </p:cNvPr>
          <p:cNvGraphicFramePr>
            <a:graphicFrameLocks noChangeAspect="1"/>
          </p:cNvGraphicFramePr>
          <p:nvPr userDrawn="1">
            <p:custDataLst>
              <p:tags r:id="rId29"/>
            </p:custDataLst>
            <p:extLst>
              <p:ext uri="{D42A27DB-BD31-4B8C-83A1-F6EECF244321}">
                <p14:modId xmlns:p14="http://schemas.microsoft.com/office/powerpoint/2010/main" val="2649321158"/>
              </p:ext>
            </p:extLst>
          </p:nvPr>
        </p:nvGraphicFramePr>
        <p:xfrm>
          <a:off x="2118" y="2116"/>
          <a:ext cx="2117" cy="2115"/>
        </p:xfrm>
        <a:graphic>
          <a:graphicData uri="http://schemas.openxmlformats.org/presentationml/2006/ole">
            <mc:AlternateContent xmlns:mc="http://schemas.openxmlformats.org/markup-compatibility/2006">
              <mc:Choice xmlns:v="urn:schemas-microsoft-com:vml" Requires="v">
                <p:oleObj name="think-cell 幻灯片" r:id="rId30" imgW="395" imgH="394" progId="TCLayout.ActiveDocument.1">
                  <p:embed/>
                </p:oleObj>
              </mc:Choice>
              <mc:Fallback>
                <p:oleObj name="think-cell 幻灯片" r:id="rId30" imgW="395" imgH="394" progId="TCLayout.ActiveDocument.1">
                  <p:embed/>
                  <p:pic>
                    <p:nvPicPr>
                      <p:cNvPr id="5" name="Object 4" hidden="1">
                        <a:extLst>
                          <a:ext uri="{FF2B5EF4-FFF2-40B4-BE49-F238E27FC236}">
                            <a16:creationId xmlns:a16="http://schemas.microsoft.com/office/drawing/2014/main" id="{103EA4F7-AB8E-4D53-8F6F-6D75CC2267BE}"/>
                          </a:ext>
                        </a:extLst>
                      </p:cNvPr>
                      <p:cNvPicPr/>
                      <p:nvPr/>
                    </p:nvPicPr>
                    <p:blipFill>
                      <a:blip r:embed="rId31"/>
                      <a:stretch>
                        <a:fillRect/>
                      </a:stretch>
                    </p:blipFill>
                    <p:spPr>
                      <a:xfrm>
                        <a:off x="2118" y="2116"/>
                        <a:ext cx="2117" cy="2115"/>
                      </a:xfrm>
                      <a:prstGeom prst="rect">
                        <a:avLst/>
                      </a:prstGeom>
                    </p:spPr>
                  </p:pic>
                </p:oleObj>
              </mc:Fallback>
            </mc:AlternateContent>
          </a:graphicData>
        </a:graphic>
      </p:graphicFrame>
      <p:sp>
        <p:nvSpPr>
          <p:cNvPr id="2" name="Title Placeholder 1"/>
          <p:cNvSpPr>
            <a:spLocks noGrp="1"/>
          </p:cNvSpPr>
          <p:nvPr>
            <p:ph type="title"/>
          </p:nvPr>
        </p:nvSpPr>
        <p:spPr>
          <a:xfrm>
            <a:off x="746743" y="255927"/>
            <a:ext cx="9391437" cy="651495"/>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746743" y="1746856"/>
            <a:ext cx="10757341" cy="417136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 name="Group 13">
            <a:extLst>
              <a:ext uri="{FF2B5EF4-FFF2-40B4-BE49-F238E27FC236}">
                <a16:creationId xmlns:a16="http://schemas.microsoft.com/office/drawing/2014/main" id="{6EC7912B-A04B-664B-987E-C7131D440345}"/>
              </a:ext>
            </a:extLst>
          </p:cNvPr>
          <p:cNvGrpSpPr/>
          <p:nvPr userDrawn="1"/>
        </p:nvGrpSpPr>
        <p:grpSpPr>
          <a:xfrm>
            <a:off x="-5" y="6767860"/>
            <a:ext cx="12192004" cy="91440"/>
            <a:chOff x="-4" y="5045891"/>
            <a:chExt cx="9144003" cy="102377"/>
          </a:xfrm>
        </p:grpSpPr>
        <p:sp>
          <p:nvSpPr>
            <p:cNvPr id="15" name="Rectangle 14">
              <a:extLst>
                <a:ext uri="{FF2B5EF4-FFF2-40B4-BE49-F238E27FC236}">
                  <a16:creationId xmlns:a16="http://schemas.microsoft.com/office/drawing/2014/main" id="{64C88805-BFF5-5D46-ACC6-F80DC01CE37F}"/>
                </a:ext>
              </a:extLst>
            </p:cNvPr>
            <p:cNvSpPr/>
            <p:nvPr userDrawn="1"/>
          </p:nvSpPr>
          <p:spPr>
            <a:xfrm rot="10800000" flipH="1" flipV="1">
              <a:off x="7270751" y="5045891"/>
              <a:ext cx="1873248" cy="1023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0" name="Rectangle 19">
              <a:extLst>
                <a:ext uri="{FF2B5EF4-FFF2-40B4-BE49-F238E27FC236}">
                  <a16:creationId xmlns:a16="http://schemas.microsoft.com/office/drawing/2014/main" id="{2119BD33-98B0-6D4D-A576-8BD35AFDA04D}"/>
                </a:ext>
              </a:extLst>
            </p:cNvPr>
            <p:cNvSpPr/>
            <p:nvPr userDrawn="1"/>
          </p:nvSpPr>
          <p:spPr>
            <a:xfrm rot="10800000" flipH="1" flipV="1">
              <a:off x="5461000" y="5045891"/>
              <a:ext cx="1846387" cy="1023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1" name="Rectangle 20">
              <a:extLst>
                <a:ext uri="{FF2B5EF4-FFF2-40B4-BE49-F238E27FC236}">
                  <a16:creationId xmlns:a16="http://schemas.microsoft.com/office/drawing/2014/main" id="{C0CF3A6C-F461-BB47-938A-D3A98DB04F6F}"/>
                </a:ext>
              </a:extLst>
            </p:cNvPr>
            <p:cNvSpPr/>
            <p:nvPr userDrawn="1"/>
          </p:nvSpPr>
          <p:spPr>
            <a:xfrm rot="10800000" flipH="1" flipV="1">
              <a:off x="3647924" y="5045891"/>
              <a:ext cx="1826115" cy="1023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3" name="Rectangle 22">
              <a:extLst>
                <a:ext uri="{FF2B5EF4-FFF2-40B4-BE49-F238E27FC236}">
                  <a16:creationId xmlns:a16="http://schemas.microsoft.com/office/drawing/2014/main" id="{8811E6EA-5BD7-0248-9B35-3B4D2E7C7E24}"/>
                </a:ext>
              </a:extLst>
            </p:cNvPr>
            <p:cNvSpPr/>
            <p:nvPr userDrawn="1"/>
          </p:nvSpPr>
          <p:spPr>
            <a:xfrm rot="10800000" flipH="1" flipV="1">
              <a:off x="1827926" y="5045891"/>
              <a:ext cx="1826115" cy="1023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sp>
          <p:nvSpPr>
            <p:cNvPr id="24" name="Rectangle 23">
              <a:extLst>
                <a:ext uri="{FF2B5EF4-FFF2-40B4-BE49-F238E27FC236}">
                  <a16:creationId xmlns:a16="http://schemas.microsoft.com/office/drawing/2014/main" id="{61038CFB-909A-C64A-8F14-86D2333811FA}"/>
                </a:ext>
              </a:extLst>
            </p:cNvPr>
            <p:cNvSpPr/>
            <p:nvPr userDrawn="1"/>
          </p:nvSpPr>
          <p:spPr>
            <a:xfrm rot="10800000" flipH="1" flipV="1">
              <a:off x="-4" y="5045891"/>
              <a:ext cx="1833839" cy="10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normAutofit fontScale="25000" lnSpcReduction="20000"/>
            </a:bodyPr>
            <a:lstStyle/>
            <a:p>
              <a:pPr algn="ctr"/>
              <a:endParaRPr lang="en-US" sz="2398" dirty="0"/>
            </a:p>
          </p:txBody>
        </p:sp>
      </p:grpSp>
      <p:sp>
        <p:nvSpPr>
          <p:cNvPr id="25" name="TextBox 24">
            <a:extLst>
              <a:ext uri="{FF2B5EF4-FFF2-40B4-BE49-F238E27FC236}">
                <a16:creationId xmlns:a16="http://schemas.microsoft.com/office/drawing/2014/main" id="{C37D5CFA-D3FD-2348-BD93-E52F967BD8EC}"/>
              </a:ext>
            </a:extLst>
          </p:cNvPr>
          <p:cNvSpPr txBox="1"/>
          <p:nvPr userDrawn="1"/>
        </p:nvSpPr>
        <p:spPr>
          <a:xfrm>
            <a:off x="746744" y="6481232"/>
            <a:ext cx="7115731" cy="143437"/>
          </a:xfrm>
          <a:prstGeom prst="rect">
            <a:avLst/>
          </a:prstGeom>
          <a:noFill/>
          <a:ln w="12700">
            <a:noFill/>
          </a:ln>
        </p:spPr>
        <p:txBody>
          <a:bodyPr wrap="none" lIns="0" tIns="0" rIns="0" bIns="0" rtlCol="0">
            <a:spAutoFit/>
          </a:bodyPr>
          <a:lstStyle/>
          <a:p>
            <a:pPr algn="l"/>
            <a:r>
              <a:rPr lang="en-US" sz="932" dirty="0">
                <a:solidFill>
                  <a:schemeClr val="tx1">
                    <a:lumMod val="60000"/>
                    <a:lumOff val="40000"/>
                  </a:schemeClr>
                </a:solidFill>
                <a:latin typeface="Arial" pitchFamily="34" charset="0"/>
                <a:cs typeface="Arial" pitchFamily="34" charset="0"/>
              </a:rPr>
              <a:t>FOR INTERNAL PURPOSES ONLY. NOT FOR EXTERNAL COMMUNICATION. CONFIDENTIAL AND PROPRIETARY OF BIOGEN</a:t>
            </a:r>
          </a:p>
        </p:txBody>
      </p:sp>
      <p:cxnSp>
        <p:nvCxnSpPr>
          <p:cNvPr id="8" name="Straight Connector 7">
            <a:extLst>
              <a:ext uri="{FF2B5EF4-FFF2-40B4-BE49-F238E27FC236}">
                <a16:creationId xmlns:a16="http://schemas.microsoft.com/office/drawing/2014/main" id="{AEACD287-EA4B-AA42-96FB-0DCD2CACDD1F}"/>
              </a:ext>
            </a:extLst>
          </p:cNvPr>
          <p:cNvCxnSpPr/>
          <p:nvPr userDrawn="1"/>
        </p:nvCxnSpPr>
        <p:spPr>
          <a:xfrm>
            <a:off x="17302" y="1030046"/>
            <a:ext cx="12161520" cy="0"/>
          </a:xfrm>
          <a:prstGeom prst="line">
            <a:avLst/>
          </a:prstGeom>
          <a:ln w="57150" cap="sq">
            <a:gradFill flip="none" rotWithShape="1">
              <a:gsLst>
                <a:gs pos="0">
                  <a:schemeClr val="accent5"/>
                </a:gs>
                <a:gs pos="58000">
                  <a:schemeClr val="accent4">
                    <a:lumMod val="75000"/>
                  </a:schemeClr>
                </a:gs>
                <a:gs pos="97000">
                  <a:schemeClr val="accent4">
                    <a:lumMod val="60000"/>
                    <a:lumOff val="40000"/>
                  </a:schemeClr>
                </a:gs>
              </a:gsLst>
              <a:path path="circle">
                <a:fillToRect t="100000" r="100000"/>
              </a:path>
              <a:tileRect l="-100000" b="-100000"/>
            </a:gra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B3F3B14-74D8-E846-8255-9705D261A7B9}"/>
              </a:ext>
            </a:extLst>
          </p:cNvPr>
          <p:cNvSpPr txBox="1"/>
          <p:nvPr userDrawn="1"/>
        </p:nvSpPr>
        <p:spPr>
          <a:xfrm>
            <a:off x="11119787" y="6422085"/>
            <a:ext cx="516949" cy="286993"/>
          </a:xfrm>
          <a:prstGeom prst="rect">
            <a:avLst/>
          </a:prstGeom>
        </p:spPr>
        <p:txBody>
          <a:bodyPr/>
          <a:lstStyle>
            <a:defPPr>
              <a:defRPr lang="en-US"/>
            </a:defPPr>
            <a:lvl1pPr indent="0" algn="r" defTabSz="685800">
              <a:spcBef>
                <a:spcPts val="750"/>
              </a:spcBef>
              <a:spcAft>
                <a:spcPts val="450"/>
              </a:spcAft>
              <a:buFontTx/>
              <a:buNone/>
              <a:defRPr sz="800" b="1" i="0" baseline="0">
                <a:solidFill>
                  <a:schemeClr val="tx2"/>
                </a:solidFill>
                <a:cs typeface="Arial" pitchFamily="34" charset="0"/>
              </a:defRPr>
            </a:lvl1pPr>
            <a:lvl2pPr marL="294085" indent="-171450" defTabSz="685800">
              <a:spcBef>
                <a:spcPts val="0"/>
              </a:spcBef>
              <a:spcAft>
                <a:spcPts val="450"/>
              </a:spcAft>
              <a:buClr>
                <a:schemeClr val="accent1"/>
              </a:buClr>
              <a:buSzPct val="100000"/>
              <a:buFont typeface="Arial" pitchFamily="34" charset="0"/>
              <a:buChar char="•"/>
              <a:tabLst>
                <a:tab pos="302419" algn="l"/>
              </a:tabLst>
              <a:defRPr sz="1500">
                <a:solidFill>
                  <a:schemeClr val="tx2"/>
                </a:solidFill>
                <a:cs typeface="Arial" pitchFamily="34" charset="0"/>
              </a:defRPr>
            </a:lvl2pPr>
            <a:lvl3pPr marL="432197" indent="-133350" defTabSz="685800">
              <a:spcBef>
                <a:spcPts val="0"/>
              </a:spcBef>
              <a:spcAft>
                <a:spcPts val="450"/>
              </a:spcAft>
              <a:buClr>
                <a:schemeClr val="accent1"/>
              </a:buClr>
              <a:buFont typeface="Arial" pitchFamily="34" charset="0"/>
              <a:buChar char="–"/>
              <a:defRPr sz="1500">
                <a:solidFill>
                  <a:schemeClr val="tx2"/>
                </a:solidFill>
                <a:cs typeface="Arial" pitchFamily="34" charset="0"/>
              </a:defRPr>
            </a:lvl3pPr>
            <a:lvl4pPr marL="558404" indent="-126206" defTabSz="685800">
              <a:spcBef>
                <a:spcPts val="0"/>
              </a:spcBef>
              <a:spcAft>
                <a:spcPts val="450"/>
              </a:spcAft>
              <a:buClr>
                <a:schemeClr val="accent1"/>
              </a:buClr>
              <a:buSzPct val="85000"/>
              <a:buFont typeface="Arial" pitchFamily="34" charset="0"/>
              <a:buChar char="•"/>
              <a:defRPr>
                <a:solidFill>
                  <a:schemeClr val="tx2"/>
                </a:solidFill>
                <a:cs typeface="Arial" pitchFamily="34" charset="0"/>
              </a:defRPr>
            </a:lvl4pPr>
            <a:lvl5pPr marL="685800" indent="-127397" defTabSz="685800">
              <a:spcBef>
                <a:spcPts val="0"/>
              </a:spcBef>
              <a:spcAft>
                <a:spcPts val="450"/>
              </a:spcAft>
              <a:buClr>
                <a:schemeClr val="accent1"/>
              </a:buClr>
              <a:buFont typeface="Arial" pitchFamily="34" charset="0"/>
              <a:buChar char="–"/>
              <a:defRPr>
                <a:solidFill>
                  <a:schemeClr val="tx2"/>
                </a:solidFill>
                <a:cs typeface="Arial" pitchFamily="34" charset="0"/>
              </a:defRPr>
            </a:lvl5pPr>
            <a:lvl6pPr marL="813197" indent="-127397" defTabSz="685800">
              <a:spcBef>
                <a:spcPts val="0"/>
              </a:spcBef>
              <a:spcAft>
                <a:spcPts val="450"/>
              </a:spcAft>
              <a:buClr>
                <a:schemeClr val="accent1"/>
              </a:buClr>
              <a:buSzPct val="85000"/>
              <a:buFont typeface="Arial" pitchFamily="34" charset="0"/>
              <a:buChar char="•"/>
              <a:defRPr baseline="0">
                <a:solidFill>
                  <a:schemeClr val="bg1"/>
                </a:solidFill>
              </a:defRPr>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lvl="0"/>
            <a:fld id="{63C66BC7-E6C6-244F-AAA3-278799AAFC3D}" type="slidenum">
              <a:rPr lang="en-US" sz="932" b="1" smtClean="0"/>
              <a:pPr lvl="0"/>
              <a:t>‹#›</a:t>
            </a:fld>
            <a:endParaRPr lang="en-US" sz="932" b="1" dirty="0"/>
          </a:p>
        </p:txBody>
      </p:sp>
      <p:pic>
        <p:nvPicPr>
          <p:cNvPr id="16" name="Picture 2" descr="See the source image">
            <a:extLst>
              <a:ext uri="{FF2B5EF4-FFF2-40B4-BE49-F238E27FC236}">
                <a16:creationId xmlns:a16="http://schemas.microsoft.com/office/drawing/2014/main" id="{F2B1F7BE-C8AC-F2F3-BB49-66A6832A3BA9}"/>
              </a:ext>
            </a:extLst>
          </p:cNvPr>
          <p:cNvPicPr>
            <a:picLocks noChangeAspect="1" noChangeArrowheads="1"/>
          </p:cNvPicPr>
          <p:nvPr userDrawn="1"/>
        </p:nvPicPr>
        <p:blipFill>
          <a:blip r:embed="rId32">
            <a:extLst>
              <a:ext uri="{28A0092B-C50C-407E-A947-70E740481C1C}">
                <a14:useLocalDpi xmlns:a14="http://schemas.microsoft.com/office/drawing/2010/main" val="0"/>
              </a:ext>
            </a:extLst>
          </a:blip>
          <a:srcRect/>
          <a:stretch>
            <a:fillRect/>
          </a:stretch>
        </p:blipFill>
        <p:spPr bwMode="auto">
          <a:xfrm>
            <a:off x="10837335" y="224973"/>
            <a:ext cx="1216845" cy="298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779182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Lst>
  <p:hf sldNum="0" hdr="0" dt="0"/>
  <p:txStyles>
    <p:titleStyle>
      <a:lvl1pPr algn="l" defTabSz="913554" rtl="0" eaLnBrk="1" latinLnBrk="0" hangingPunct="1">
        <a:lnSpc>
          <a:spcPct val="85000"/>
        </a:lnSpc>
        <a:spcBef>
          <a:spcPct val="0"/>
        </a:spcBef>
        <a:buNone/>
        <a:defRPr sz="2398" b="0" kern="1200" baseline="0">
          <a:solidFill>
            <a:schemeClr val="tx2"/>
          </a:solidFill>
          <a:latin typeface="+mj-lt"/>
          <a:ea typeface="+mj-ea"/>
          <a:cs typeface="Arial" pitchFamily="34" charset="0"/>
        </a:defRPr>
      </a:lvl1pPr>
    </p:titleStyle>
    <p:bodyStyle>
      <a:lvl1pPr marL="0" indent="0" algn="l" defTabSz="913554" rtl="0" eaLnBrk="1" latinLnBrk="0" hangingPunct="1">
        <a:spcBef>
          <a:spcPts val="999"/>
        </a:spcBef>
        <a:spcAft>
          <a:spcPts val="599"/>
        </a:spcAft>
        <a:buFontTx/>
        <a:buNone/>
        <a:defRPr sz="1332" b="0" i="0" kern="1200" baseline="0">
          <a:solidFill>
            <a:schemeClr val="tx1"/>
          </a:solidFill>
          <a:latin typeface="+mn-lt"/>
          <a:ea typeface="+mn-ea"/>
          <a:cs typeface="Arial" pitchFamily="34" charset="0"/>
        </a:defRPr>
      </a:lvl1pPr>
      <a:lvl2pPr marL="154374" indent="-154374" algn="l" defTabSz="913554" rtl="0" eaLnBrk="1" latinLnBrk="0" hangingPunct="1">
        <a:spcBef>
          <a:spcPts val="0"/>
        </a:spcBef>
        <a:spcAft>
          <a:spcPts val="599"/>
        </a:spcAft>
        <a:buClr>
          <a:schemeClr val="tx2"/>
        </a:buClr>
        <a:buSzPct val="70000"/>
        <a:buFont typeface="Wingdings" panose="05000000000000000000" pitchFamily="2" charset="2"/>
        <a:buChar char="l"/>
        <a:tabLst/>
        <a:defRPr sz="1332" kern="1200">
          <a:solidFill>
            <a:schemeClr val="tx1"/>
          </a:solidFill>
          <a:latin typeface="+mn-lt"/>
          <a:ea typeface="+mn-ea"/>
          <a:cs typeface="Arial" pitchFamily="34" charset="0"/>
        </a:defRPr>
      </a:lvl2pPr>
      <a:lvl3pPr marL="382763" indent="-179751" algn="l" defTabSz="913554" rtl="0" eaLnBrk="1" latinLnBrk="0" hangingPunct="1">
        <a:spcBef>
          <a:spcPts val="0"/>
        </a:spcBef>
        <a:spcAft>
          <a:spcPts val="599"/>
        </a:spcAft>
        <a:buClr>
          <a:schemeClr val="tx2"/>
        </a:buClr>
        <a:buFont typeface="Arial" pitchFamily="34" charset="0"/>
        <a:buChar char="–"/>
        <a:tabLst/>
        <a:defRPr sz="1332" kern="1200">
          <a:solidFill>
            <a:schemeClr val="tx1"/>
          </a:solidFill>
          <a:latin typeface="+mn-lt"/>
          <a:ea typeface="+mn-ea"/>
          <a:cs typeface="Arial" pitchFamily="34" charset="0"/>
        </a:defRPr>
      </a:lvl3pPr>
      <a:lvl4pPr marL="532907" indent="-152259" algn="l" defTabSz="913554" rtl="0" eaLnBrk="1" latinLnBrk="0" hangingPunct="1">
        <a:spcBef>
          <a:spcPts val="0"/>
        </a:spcBef>
        <a:spcAft>
          <a:spcPts val="599"/>
        </a:spcAft>
        <a:buClr>
          <a:schemeClr val="tx2"/>
        </a:buClr>
        <a:buSzPct val="70000"/>
        <a:buFont typeface="Wingdings" panose="05000000000000000000" pitchFamily="2" charset="2"/>
        <a:buChar char="l"/>
        <a:tabLst/>
        <a:defRPr sz="1332" kern="1200">
          <a:solidFill>
            <a:schemeClr val="tx1"/>
          </a:solidFill>
          <a:latin typeface="+mn-lt"/>
          <a:ea typeface="+mn-ea"/>
          <a:cs typeface="Arial" pitchFamily="34" charset="0"/>
        </a:defRPr>
      </a:lvl4pPr>
      <a:lvl5pPr marL="761295" indent="-217816" algn="l" defTabSz="913554" rtl="0" eaLnBrk="1" latinLnBrk="0" hangingPunct="1">
        <a:spcBef>
          <a:spcPts val="0"/>
        </a:spcBef>
        <a:spcAft>
          <a:spcPts val="599"/>
        </a:spcAft>
        <a:buClr>
          <a:schemeClr val="tx2"/>
        </a:buClr>
        <a:buFont typeface="Arial" pitchFamily="34" charset="0"/>
        <a:buChar char="–"/>
        <a:tabLst/>
        <a:defRPr sz="1332" kern="1200">
          <a:solidFill>
            <a:schemeClr val="tx1"/>
          </a:solidFill>
          <a:latin typeface="+mn-lt"/>
          <a:ea typeface="+mn-ea"/>
          <a:cs typeface="Arial" pitchFamily="34" charset="0"/>
        </a:defRPr>
      </a:lvl5pPr>
      <a:lvl6pPr marL="1083260" indent="-169706" algn="l" defTabSz="913554" rtl="0" eaLnBrk="1" latinLnBrk="0" hangingPunct="1">
        <a:spcBef>
          <a:spcPts val="0"/>
        </a:spcBef>
        <a:spcAft>
          <a:spcPts val="599"/>
        </a:spcAft>
        <a:buClr>
          <a:schemeClr val="accent1"/>
        </a:buClr>
        <a:buSzPct val="85000"/>
        <a:buFont typeface="Arial" pitchFamily="34" charset="0"/>
        <a:buChar char="•"/>
        <a:defRPr sz="1798" kern="1200" baseline="0">
          <a:solidFill>
            <a:schemeClr val="bg1"/>
          </a:solidFill>
          <a:latin typeface="+mn-lt"/>
          <a:ea typeface="+mn-ea"/>
          <a:cs typeface="+mn-cs"/>
        </a:defRPr>
      </a:lvl6pPr>
      <a:lvl7pPr marL="2969051" indent="-228389"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828" indent="-228389"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605" indent="-228389" algn="l" defTabSz="913554"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65963E14-C486-5BAE-0C00-80940B081658}"/>
              </a:ext>
            </a:extLst>
          </p:cNvPr>
          <p:cNvGraphicFramePr>
            <a:graphicFrameLocks noChangeAspect="1"/>
          </p:cNvGraphicFramePr>
          <p:nvPr>
            <p:custDataLst>
              <p:tags r:id="rId1"/>
            </p:custDataLst>
            <p:extLst>
              <p:ext uri="{D42A27DB-BD31-4B8C-83A1-F6EECF244321}">
                <p14:modId xmlns:p14="http://schemas.microsoft.com/office/powerpoint/2010/main" val="1470820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18" name="Object 17" hidden="1">
                        <a:extLst>
                          <a:ext uri="{FF2B5EF4-FFF2-40B4-BE49-F238E27FC236}">
                            <a16:creationId xmlns:a16="http://schemas.microsoft.com/office/drawing/2014/main" id="{65963E14-C486-5BAE-0C00-80940B0816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标题 1">
            <a:extLst>
              <a:ext uri="{FF2B5EF4-FFF2-40B4-BE49-F238E27FC236}">
                <a16:creationId xmlns:a16="http://schemas.microsoft.com/office/drawing/2014/main" id="{305E7C09-E4C8-B593-1218-8152318ACF72}"/>
              </a:ext>
            </a:extLst>
          </p:cNvPr>
          <p:cNvSpPr txBox="1">
            <a:spLocks/>
          </p:cNvSpPr>
          <p:nvPr/>
        </p:nvSpPr>
        <p:spPr>
          <a:xfrm>
            <a:off x="5297442" y="2019762"/>
            <a:ext cx="6068564" cy="86731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772160"/>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4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rPr>
              <a:t>富马酸二甲酯肠溶胶囊</a:t>
            </a:r>
            <a:endParaRPr kumimoji="0" lang="en-US" altLang="zh-CN" sz="4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endParaRPr>
          </a:p>
        </p:txBody>
      </p:sp>
      <p:sp>
        <p:nvSpPr>
          <p:cNvPr id="7" name="文本框 6">
            <a:extLst>
              <a:ext uri="{FF2B5EF4-FFF2-40B4-BE49-F238E27FC236}">
                <a16:creationId xmlns:a16="http://schemas.microsoft.com/office/drawing/2014/main" id="{E0FFF74A-5696-F910-0C4A-2F186245878B}"/>
              </a:ext>
            </a:extLst>
          </p:cNvPr>
          <p:cNvSpPr txBox="1"/>
          <p:nvPr/>
        </p:nvSpPr>
        <p:spPr>
          <a:xfrm>
            <a:off x="5297442" y="3216634"/>
            <a:ext cx="6099858" cy="424732"/>
          </a:xfrm>
          <a:prstGeom prst="rect">
            <a:avLst/>
          </a:prstGeom>
          <a:noFill/>
          <a:ln w="12700">
            <a:noFill/>
          </a:ln>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rPr>
              <a:t>2022</a:t>
            </a:r>
            <a:r>
              <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rPr>
              <a:t>年国家医保准入拟新增药品报送材料</a:t>
            </a:r>
            <a:r>
              <a:rPr kumimoji="0" lang="en-US" altLang="zh-CN"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rPr>
              <a:t> </a:t>
            </a:r>
            <a:endParaRPr kumimoji="0" lang="zh-CN" altLang="en-US" sz="2400" b="1" i="0" u="none" strike="noStrike" kern="120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cs typeface="+mj-cs"/>
            </a:endParaRPr>
          </a:p>
        </p:txBody>
      </p:sp>
      <p:pic>
        <p:nvPicPr>
          <p:cNvPr id="8" name="Picture 6" descr="logo-02.png">
            <a:extLst>
              <a:ext uri="{FF2B5EF4-FFF2-40B4-BE49-F238E27FC236}">
                <a16:creationId xmlns:a16="http://schemas.microsoft.com/office/drawing/2014/main" id="{139ABAFE-F8B0-AC53-408E-DA0487AC178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563455" y="196770"/>
            <a:ext cx="1406586" cy="462987"/>
          </a:xfrm>
          <a:prstGeom prst="rect">
            <a:avLst/>
          </a:prstGeom>
        </p:spPr>
      </p:pic>
      <p:sp>
        <p:nvSpPr>
          <p:cNvPr id="9" name="文本框 8">
            <a:extLst>
              <a:ext uri="{FF2B5EF4-FFF2-40B4-BE49-F238E27FC236}">
                <a16:creationId xmlns:a16="http://schemas.microsoft.com/office/drawing/2014/main" id="{73A163D5-A34E-25B2-CF49-D88EC295AD83}"/>
              </a:ext>
            </a:extLst>
          </p:cNvPr>
          <p:cNvSpPr txBox="1"/>
          <p:nvPr/>
        </p:nvSpPr>
        <p:spPr>
          <a:xfrm>
            <a:off x="128016" y="6386277"/>
            <a:ext cx="2670048" cy="246221"/>
          </a:xfrm>
          <a:prstGeom prst="rect">
            <a:avLst/>
          </a:prstGeom>
          <a:noFill/>
          <a:ln w="12700">
            <a:noFill/>
          </a:ln>
        </p:spPr>
        <p:txBody>
          <a:bodyPr wrap="square">
            <a:spAutoFit/>
          </a:bodyPr>
          <a:lstStyle/>
          <a:p>
            <a:r>
              <a:rPr lang="en-US" altLang="zh-CN" sz="1000" dirty="0">
                <a:latin typeface="Arial" panose="020B0604020202020204" pitchFamily="34" charset="0"/>
              </a:rPr>
              <a:t>Biogen-175904--CHN-07/2022</a:t>
            </a:r>
            <a:endParaRPr lang="zh-CN" altLang="en-US" sz="1000" dirty="0">
              <a:latin typeface="Arial" panose="020B0604020202020204" pitchFamily="34" charset="0"/>
            </a:endParaRPr>
          </a:p>
        </p:txBody>
      </p:sp>
      <p:sp>
        <p:nvSpPr>
          <p:cNvPr id="11" name="文本框 10">
            <a:extLst>
              <a:ext uri="{FF2B5EF4-FFF2-40B4-BE49-F238E27FC236}">
                <a16:creationId xmlns:a16="http://schemas.microsoft.com/office/drawing/2014/main" id="{AAC26A33-9E78-FD61-0CD3-178D684FE216}"/>
              </a:ext>
            </a:extLst>
          </p:cNvPr>
          <p:cNvSpPr txBox="1"/>
          <p:nvPr/>
        </p:nvSpPr>
        <p:spPr>
          <a:xfrm>
            <a:off x="-64008" y="6632498"/>
            <a:ext cx="4983480" cy="184666"/>
          </a:xfrm>
          <a:prstGeom prst="rect">
            <a:avLst/>
          </a:prstGeom>
          <a:noFill/>
          <a:ln w="1270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600" dirty="0">
                <a:latin typeface="Arial" panose="020B0604020202020204" pitchFamily="34" charset="0"/>
              </a:rPr>
              <a:t>免责声明：此材料不是广告，其仅用于向特定医疗卫生专业人士提供科学信息。若您不是特定医疗卫生专业人士，请不要阅读或传播其中的内容</a:t>
            </a:r>
          </a:p>
        </p:txBody>
      </p:sp>
    </p:spTree>
    <p:extLst>
      <p:ext uri="{BB962C8B-B14F-4D97-AF65-F5344CB8AC3E}">
        <p14:creationId xmlns:p14="http://schemas.microsoft.com/office/powerpoint/2010/main" val="26311305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12_1">
            <a:extLst>
              <a:ext uri="{FF2B5EF4-FFF2-40B4-BE49-F238E27FC236}">
                <a16:creationId xmlns:a16="http://schemas.microsoft.com/office/drawing/2014/main" id="{1CC419F9-655A-A028-69C3-442C118D03F9}"/>
              </a:ext>
            </a:extLst>
          </p:cNvPr>
          <p:cNvSpPr/>
          <p:nvPr/>
        </p:nvSpPr>
        <p:spPr>
          <a:xfrm>
            <a:off x="382404" y="1418527"/>
            <a:ext cx="10983432" cy="1920101"/>
          </a:xfrm>
          <a:prstGeom prst="roundRect">
            <a:avLst>
              <a:gd name="adj" fmla="val 546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latin typeface="Arial" panose="020B0604020202020204" pitchFamily="34" charset="0"/>
              <a:ea typeface="微软雅黑" panose="020B0503020204020204" pitchFamily="34" charset="-122"/>
              <a:cs typeface="+mn-ea"/>
              <a:sym typeface="Verdana"/>
            </a:endParaRPr>
          </a:p>
        </p:txBody>
      </p:sp>
      <p:sp>
        <p:nvSpPr>
          <p:cNvPr id="5" name="文本框 4">
            <a:extLst>
              <a:ext uri="{FF2B5EF4-FFF2-40B4-BE49-F238E27FC236}">
                <a16:creationId xmlns:a16="http://schemas.microsoft.com/office/drawing/2014/main" id="{E6A52B5A-7DBC-1F4A-3D65-AFC0590BB1F1}"/>
              </a:ext>
            </a:extLst>
          </p:cNvPr>
          <p:cNvSpPr txBox="1"/>
          <p:nvPr/>
        </p:nvSpPr>
        <p:spPr>
          <a:xfrm>
            <a:off x="526500" y="1349650"/>
            <a:ext cx="10837183" cy="1868973"/>
          </a:xfrm>
          <a:prstGeom prst="rect">
            <a:avLst/>
          </a:prstGeom>
          <a:noFill/>
        </p:spPr>
        <p:txBody>
          <a:bodyPr wrap="square" anchor="ctr">
            <a:spAutoFit/>
          </a:bodyPr>
          <a:lstStyle/>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异质性强，现有药物不能完全满足个体化治疗需求（全球已上市</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0</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余种疾病修正治疗药品） </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真实世界数据及</a:t>
            </a:r>
            <a:r>
              <a:rPr lang="zh-CN" altLang="en-US" sz="1400" dirty="0">
                <a:solidFill>
                  <a:srgbClr val="2473BA"/>
                </a:solidFill>
                <a:latin typeface="Arial" panose="020B0604020202020204" pitchFamily="34" charset="0"/>
                <a:ea typeface="微软雅黑" panose="020B0503020204020204" pitchFamily="34" charset="-122"/>
              </a:rPr>
              <a:t>荟萃</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分析均证明疗效显著优于特立氟胺</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药物性肝损风险为同类最低（特立氟胺肝毒性黑框警告；芬戈莫德重度肝损伤禁用）</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indent="-285750" defTabSz="913765">
              <a:lnSpc>
                <a:spcPct val="140000"/>
              </a:lnSpc>
              <a:buFont typeface="Arial" panose="020B0604020202020204" pitchFamily="34" charset="0"/>
              <a:buChar char="•"/>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体内清除期短（</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4</a:t>
            </a:r>
            <a:r>
              <a:rPr kumimoji="0" lang="zh-CN" altLang="en-US" sz="140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rPr>
              <a:t>小时）</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方便停药妊娠（特立氟胺有胚胎毒性黑框警告；芬戈莫德有病情反弹）</a:t>
            </a:r>
            <a:r>
              <a:rPr kumimoji="0" lang="zh-CN" altLang="en-US"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说明书</a:t>
            </a: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易于起始（无需特殊连续监测或基因检查），方便医患、节省医疗资源</a:t>
            </a:r>
          </a:p>
          <a:p>
            <a:pPr marL="285750" indent="-285750" defTabSz="913765">
              <a:lnSpc>
                <a:spcPct val="140000"/>
              </a:lnSpc>
              <a:buFont typeface="Arial" panose="020B0604020202020204" pitchFamily="34" charset="0"/>
              <a:buChar char="•"/>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对于想接种疫苗预防流感、肺炎等疾病的</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本品不降低疫苗本身应答率 </a:t>
            </a:r>
            <a:endParaRPr kumimoji="0" lang="zh-CN" altLang="en-US"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8" name="Rectangle 12_1">
            <a:extLst>
              <a:ext uri="{FF2B5EF4-FFF2-40B4-BE49-F238E27FC236}">
                <a16:creationId xmlns:a16="http://schemas.microsoft.com/office/drawing/2014/main" id="{E9EC9CE0-96ED-8B96-59DA-6FDF6B9A0D67}"/>
              </a:ext>
            </a:extLst>
          </p:cNvPr>
          <p:cNvSpPr/>
          <p:nvPr/>
        </p:nvSpPr>
        <p:spPr>
          <a:xfrm>
            <a:off x="382404" y="4149344"/>
            <a:ext cx="10961974" cy="1871698"/>
          </a:xfrm>
          <a:prstGeom prst="roundRect">
            <a:avLst>
              <a:gd name="adj" fmla="val 546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prstClr val="white"/>
              </a:solidFill>
              <a:latin typeface="Arial" panose="020B0604020202020204" pitchFamily="34" charset="0"/>
              <a:ea typeface="微软雅黑" panose="020B0503020204020204" pitchFamily="34" charset="-122"/>
              <a:cs typeface="+mn-ea"/>
              <a:sym typeface="Verdana"/>
            </a:endParaRPr>
          </a:p>
        </p:txBody>
      </p:sp>
      <p:sp>
        <p:nvSpPr>
          <p:cNvPr id="9" name="文本框 8">
            <a:extLst>
              <a:ext uri="{FF2B5EF4-FFF2-40B4-BE49-F238E27FC236}">
                <a16:creationId xmlns:a16="http://schemas.microsoft.com/office/drawing/2014/main" id="{C273D101-3A4C-F08E-EB9B-FF89B440B592}"/>
              </a:ext>
            </a:extLst>
          </p:cNvPr>
          <p:cNvSpPr txBox="1"/>
          <p:nvPr/>
        </p:nvSpPr>
        <p:spPr>
          <a:xfrm>
            <a:off x="507195" y="4080458"/>
            <a:ext cx="10983432" cy="1872629"/>
          </a:xfrm>
          <a:prstGeom prst="rect">
            <a:avLst/>
          </a:prstGeom>
          <a:noFill/>
        </p:spPr>
        <p:txBody>
          <a:bodyPr wrap="square" anchor="ctr">
            <a:spAutoFit/>
          </a:bodyPr>
          <a:lstStyle/>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属于罕见病，患者人数有限且有明确诊断标准 </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本品说明书适应症明确，无超适应症使用的滥用风险</a:t>
            </a:r>
            <a:endParaRPr lang="en-US" altLang="zh-CN" sz="1400" dirty="0">
              <a:solidFill>
                <a:srgbClr val="2473BA"/>
              </a:solidFill>
              <a:latin typeface="Arial" panose="020B0604020202020204" pitchFamily="34" charset="0"/>
              <a:ea typeface="微软雅黑" panose="020B0503020204020204" pitchFamily="34" charset="-122"/>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医保产品，目前执行三定或五定管理（定医院、定医师、定患者、定药品、定用量），已有相对规范成熟的管理经验</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依从性高：口服给药</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lang="zh-CN" altLang="en-US" sz="1400" dirty="0">
                <a:solidFill>
                  <a:srgbClr val="2473BA"/>
                </a:solidFill>
                <a:latin typeface="Arial" panose="020B0604020202020204" pitchFamily="34" charset="0"/>
                <a:ea typeface="微软雅黑" panose="020B0503020204020204" pitchFamily="34" charset="-122"/>
              </a:rPr>
              <a:t>有效期久：</a:t>
            </a:r>
            <a:r>
              <a:rPr lang="en-US" altLang="zh-CN" sz="1400" dirty="0">
                <a:solidFill>
                  <a:srgbClr val="2473BA"/>
                </a:solidFill>
                <a:latin typeface="Arial" panose="020B0604020202020204" pitchFamily="34" charset="0"/>
                <a:ea typeface="微软雅黑" panose="020B0503020204020204" pitchFamily="34" charset="-122"/>
              </a:rPr>
              <a:t>48</a:t>
            </a:r>
            <a:r>
              <a:rPr lang="zh-CN" altLang="en-US" sz="1400" dirty="0">
                <a:solidFill>
                  <a:srgbClr val="2473BA"/>
                </a:solidFill>
                <a:latin typeface="Arial" panose="020B0604020202020204" pitchFamily="34" charset="0"/>
                <a:ea typeface="微软雅黑" panose="020B0503020204020204" pitchFamily="34" charset="-122"/>
              </a:rPr>
              <a:t>个月</a:t>
            </a:r>
            <a:endParaRPr lang="en-US" altLang="zh-CN" sz="1400" dirty="0">
              <a:solidFill>
                <a:srgbClr val="2473BA"/>
              </a:solidFill>
              <a:latin typeface="Arial" panose="020B0604020202020204" pitchFamily="34" charset="0"/>
              <a:ea typeface="微软雅黑" panose="020B0503020204020204" pitchFamily="34" charset="-122"/>
            </a:endParaRPr>
          </a:p>
          <a:p>
            <a:pPr marL="285750" marR="0" lvl="0" indent="-285750" algn="l" defTabSz="913765" rtl="0" eaLnBrk="1" fontAlgn="auto" latinLnBrk="0" hangingPunct="1">
              <a:lnSpc>
                <a:spcPct val="140000"/>
              </a:lnSpc>
              <a:spcBef>
                <a:spcPts val="0"/>
              </a:spcBef>
              <a:spcAft>
                <a:spcPts val="0"/>
              </a:spcAft>
              <a:buClrTx/>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贮存条件简单：</a:t>
            </a:r>
            <a:r>
              <a:rPr lang="en-US" altLang="zh-CN" sz="1400" kern="1200" dirty="0">
                <a:solidFill>
                  <a:srgbClr val="2473BA"/>
                </a:solidFill>
                <a:latin typeface="Noto Serif CJK JP"/>
                <a:ea typeface="+mn-ea"/>
                <a:cs typeface="Times New Roman"/>
              </a:rPr>
              <a:t> </a:t>
            </a:r>
            <a:r>
              <a:rPr lang="en-US" altLang="zh-CN" sz="1400" dirty="0">
                <a:solidFill>
                  <a:srgbClr val="2473BA"/>
                </a:solidFill>
                <a:latin typeface="Arial" panose="020B0604020202020204" pitchFamily="34" charset="0"/>
                <a:ea typeface="微软雅黑" panose="020B0503020204020204" pitchFamily="34" charset="-122"/>
              </a:rPr>
              <a:t>30℃</a:t>
            </a:r>
            <a:r>
              <a:rPr lang="zh-CN" altLang="en-US" sz="1400" dirty="0">
                <a:solidFill>
                  <a:srgbClr val="2473BA"/>
                </a:solidFill>
                <a:latin typeface="Arial" panose="020B0604020202020204" pitchFamily="34" charset="0"/>
                <a:ea typeface="微软雅黑" panose="020B0503020204020204" pitchFamily="34" charset="-122"/>
              </a:rPr>
              <a:t>以下保存，无需</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冷链保存和运输</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endPar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 name="标题 1">
            <a:extLst>
              <a:ext uri="{FF2B5EF4-FFF2-40B4-BE49-F238E27FC236}">
                <a16:creationId xmlns:a16="http://schemas.microsoft.com/office/drawing/2014/main" id="{D3A0DB61-1EB0-DAAD-355E-3B4F83709387}"/>
              </a:ext>
            </a:extLst>
          </p:cNvPr>
          <p:cNvSpPr>
            <a:spLocks noGrp="1"/>
          </p:cNvSpPr>
          <p:nvPr>
            <p:ph type="title"/>
          </p:nvPr>
        </p:nvSpPr>
        <p:spPr/>
        <p:txBody>
          <a:bodyPr>
            <a:normAutofit fontScale="90000"/>
          </a:bodyPr>
          <a:lstStyle/>
          <a:p>
            <a:r>
              <a:rPr lang="en-US" altLang="zh-CN" dirty="0"/>
              <a:t>06 </a:t>
            </a:r>
            <a:r>
              <a:rPr lang="zh-CN" altLang="en-US" dirty="0"/>
              <a:t>公平性</a:t>
            </a:r>
            <a:r>
              <a:rPr lang="en-US" altLang="zh-CN" dirty="0"/>
              <a:t>-</a:t>
            </a:r>
            <a:r>
              <a:rPr lang="zh-CN" altLang="en-US" dirty="0"/>
              <a:t>下：</a:t>
            </a:r>
            <a:r>
              <a:rPr lang="en-US" altLang="zh-CN" dirty="0"/>
              <a:t> </a:t>
            </a:r>
            <a:endParaRPr lang="zh-CN" altLang="en-US" dirty="0"/>
          </a:p>
        </p:txBody>
      </p:sp>
      <p:sp>
        <p:nvSpPr>
          <p:cNvPr id="14" name="圆角矩形 15">
            <a:extLst>
              <a:ext uri="{FF2B5EF4-FFF2-40B4-BE49-F238E27FC236}">
                <a16:creationId xmlns:a16="http://schemas.microsoft.com/office/drawing/2014/main" id="{3CC3D3A2-5ED6-93CF-B30E-6A55E816335A}"/>
              </a:ext>
            </a:extLst>
          </p:cNvPr>
          <p:cNvSpPr>
            <a:spLocks/>
          </p:cNvSpPr>
          <p:nvPr/>
        </p:nvSpPr>
        <p:spPr>
          <a:xfrm>
            <a:off x="396552" y="863953"/>
            <a:ext cx="10967131" cy="498475"/>
          </a:xfrm>
          <a:prstGeom prst="roundRect">
            <a:avLst>
              <a:gd name="adj" fmla="val 50000"/>
            </a:avLst>
          </a:prstGeom>
          <a:gradFill>
            <a:gsLst>
              <a:gs pos="53000">
                <a:srgbClr val="2473BA"/>
              </a:gs>
              <a:gs pos="100000">
                <a:schemeClr val="bg1">
                  <a:alpha val="0"/>
                </a:schemeClr>
              </a:gs>
            </a:gsLst>
            <a:lin ang="0" scaled="0"/>
          </a:gra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lnSpc>
                <a:spcPct val="150000"/>
              </a:lnSpc>
            </a:pPr>
            <a:endParaRPr lang="en-US" altLang="zh-CN" sz="1200" b="1" dirty="0">
              <a:solidFill>
                <a:schemeClr val="accent6"/>
              </a:solidFill>
              <a:latin typeface="Arial" panose="020B0604020202020204" pitchFamily="34" charset="0"/>
              <a:ea typeface="微软雅黑" panose="020B0503020204020204" pitchFamily="34" charset="-122"/>
            </a:endParaRPr>
          </a:p>
        </p:txBody>
      </p:sp>
      <p:grpSp>
        <p:nvGrpSpPr>
          <p:cNvPr id="27" name="Group 16">
            <a:extLst>
              <a:ext uri="{FF2B5EF4-FFF2-40B4-BE49-F238E27FC236}">
                <a16:creationId xmlns:a16="http://schemas.microsoft.com/office/drawing/2014/main" id="{9311AE8C-9241-F179-C8AE-4072534F6E2A}"/>
              </a:ext>
            </a:extLst>
          </p:cNvPr>
          <p:cNvGrpSpPr/>
          <p:nvPr/>
        </p:nvGrpSpPr>
        <p:grpSpPr>
          <a:xfrm>
            <a:off x="371153" y="772552"/>
            <a:ext cx="607044" cy="607044"/>
            <a:chOff x="437204" y="925510"/>
            <a:chExt cx="754743" cy="754743"/>
          </a:xfrm>
        </p:grpSpPr>
        <p:sp>
          <p:nvSpPr>
            <p:cNvPr id="28" name="椭圆 27">
              <a:extLst>
                <a:ext uri="{FF2B5EF4-FFF2-40B4-BE49-F238E27FC236}">
                  <a16:creationId xmlns:a16="http://schemas.microsoft.com/office/drawing/2014/main" id="{DA4EA062-8D72-7CFF-D5D0-DD2D52E7C971}"/>
                </a:ext>
              </a:extLst>
            </p:cNvPr>
            <p:cNvSpPr/>
            <p:nvPr/>
          </p:nvSpPr>
          <p:spPr>
            <a:xfrm>
              <a:off x="437204" y="925510"/>
              <a:ext cx="754743" cy="754743"/>
            </a:xfrm>
            <a:prstGeom prst="ellipse">
              <a:avLst/>
            </a:prstGeom>
            <a:solidFill>
              <a:schemeClr val="bg1"/>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p>
          </p:txBody>
        </p:sp>
        <p:sp>
          <p:nvSpPr>
            <p:cNvPr id="29" name="iconfont-11157-5276535">
              <a:extLst>
                <a:ext uri="{FF2B5EF4-FFF2-40B4-BE49-F238E27FC236}">
                  <a16:creationId xmlns:a16="http://schemas.microsoft.com/office/drawing/2014/main" id="{22D0A9B9-3895-C677-43D0-13461A4779BB}"/>
                </a:ext>
              </a:extLst>
            </p:cNvPr>
            <p:cNvSpPr/>
            <p:nvPr/>
          </p:nvSpPr>
          <p:spPr>
            <a:xfrm>
              <a:off x="613465" y="1090053"/>
              <a:ext cx="419438" cy="433677"/>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588304" h="608274">
                  <a:moveTo>
                    <a:pt x="123596" y="403223"/>
                  </a:moveTo>
                  <a:cubicBezTo>
                    <a:pt x="78566" y="403223"/>
                    <a:pt x="41921" y="439812"/>
                    <a:pt x="41921" y="484867"/>
                  </a:cubicBezTo>
                  <a:cubicBezTo>
                    <a:pt x="41921" y="529828"/>
                    <a:pt x="78566" y="566417"/>
                    <a:pt x="123596" y="566417"/>
                  </a:cubicBezTo>
                  <a:lnTo>
                    <a:pt x="297685" y="566229"/>
                  </a:lnTo>
                  <a:lnTo>
                    <a:pt x="297685" y="403411"/>
                  </a:lnTo>
                  <a:close/>
                  <a:moveTo>
                    <a:pt x="123596" y="361366"/>
                  </a:moveTo>
                  <a:lnTo>
                    <a:pt x="473564" y="361742"/>
                  </a:lnTo>
                  <a:lnTo>
                    <a:pt x="474317" y="361742"/>
                  </a:lnTo>
                  <a:cubicBezTo>
                    <a:pt x="505311" y="364188"/>
                    <a:pt x="534043" y="378015"/>
                    <a:pt x="555239" y="400777"/>
                  </a:cubicBezTo>
                  <a:cubicBezTo>
                    <a:pt x="576623" y="423728"/>
                    <a:pt x="588304" y="453545"/>
                    <a:pt x="588304" y="484773"/>
                  </a:cubicBezTo>
                  <a:cubicBezTo>
                    <a:pt x="588304" y="516095"/>
                    <a:pt x="576623" y="545912"/>
                    <a:pt x="555239" y="568863"/>
                  </a:cubicBezTo>
                  <a:cubicBezTo>
                    <a:pt x="534043" y="591625"/>
                    <a:pt x="505311" y="605452"/>
                    <a:pt x="474317" y="607898"/>
                  </a:cubicBezTo>
                  <a:lnTo>
                    <a:pt x="472716" y="607898"/>
                  </a:lnTo>
                  <a:lnTo>
                    <a:pt x="123690" y="608274"/>
                  </a:lnTo>
                  <a:lnTo>
                    <a:pt x="123596" y="608274"/>
                  </a:lnTo>
                  <a:cubicBezTo>
                    <a:pt x="55486" y="608274"/>
                    <a:pt x="0" y="552873"/>
                    <a:pt x="0" y="484773"/>
                  </a:cubicBezTo>
                  <a:cubicBezTo>
                    <a:pt x="0" y="416767"/>
                    <a:pt x="55486" y="361366"/>
                    <a:pt x="123596" y="361366"/>
                  </a:cubicBezTo>
                  <a:close/>
                  <a:moveTo>
                    <a:pt x="454078" y="41857"/>
                  </a:moveTo>
                  <a:cubicBezTo>
                    <a:pt x="446070" y="41857"/>
                    <a:pt x="438157" y="43080"/>
                    <a:pt x="430337" y="45432"/>
                  </a:cubicBezTo>
                  <a:lnTo>
                    <a:pt x="263779" y="96037"/>
                  </a:lnTo>
                  <a:lnTo>
                    <a:pt x="311071" y="251803"/>
                  </a:lnTo>
                  <a:lnTo>
                    <a:pt x="477818" y="201574"/>
                  </a:lnTo>
                  <a:cubicBezTo>
                    <a:pt x="520870" y="188500"/>
                    <a:pt x="545270" y="142880"/>
                    <a:pt x="532270" y="99800"/>
                  </a:cubicBezTo>
                  <a:cubicBezTo>
                    <a:pt x="521907" y="65749"/>
                    <a:pt x="489782" y="41857"/>
                    <a:pt x="454078" y="41857"/>
                  </a:cubicBezTo>
                  <a:close/>
                  <a:moveTo>
                    <a:pt x="454078" y="0"/>
                  </a:moveTo>
                  <a:cubicBezTo>
                    <a:pt x="480079" y="0"/>
                    <a:pt x="505986" y="8466"/>
                    <a:pt x="527088" y="23798"/>
                  </a:cubicBezTo>
                  <a:cubicBezTo>
                    <a:pt x="548850" y="39694"/>
                    <a:pt x="564583" y="61799"/>
                    <a:pt x="572402" y="87666"/>
                  </a:cubicBezTo>
                  <a:cubicBezTo>
                    <a:pt x="592185" y="152850"/>
                    <a:pt x="555162" y="221892"/>
                    <a:pt x="489971" y="241645"/>
                  </a:cubicBezTo>
                  <a:lnTo>
                    <a:pt x="154970" y="342667"/>
                  </a:lnTo>
                  <a:lnTo>
                    <a:pt x="154217" y="342855"/>
                  </a:lnTo>
                  <a:cubicBezTo>
                    <a:pt x="145455" y="344736"/>
                    <a:pt x="136506" y="345771"/>
                    <a:pt x="127650" y="345771"/>
                  </a:cubicBezTo>
                  <a:cubicBezTo>
                    <a:pt x="101649" y="345771"/>
                    <a:pt x="75742" y="337305"/>
                    <a:pt x="54640" y="321973"/>
                  </a:cubicBezTo>
                  <a:cubicBezTo>
                    <a:pt x="32878" y="306077"/>
                    <a:pt x="17240" y="283972"/>
                    <a:pt x="9326" y="258105"/>
                  </a:cubicBezTo>
                  <a:cubicBezTo>
                    <a:pt x="282" y="228194"/>
                    <a:pt x="2826" y="196213"/>
                    <a:pt x="16580" y="168088"/>
                  </a:cubicBezTo>
                  <a:cubicBezTo>
                    <a:pt x="30240" y="140152"/>
                    <a:pt x="53698" y="118612"/>
                    <a:pt x="82713" y="107324"/>
                  </a:cubicBezTo>
                  <a:lnTo>
                    <a:pt x="84221" y="106760"/>
                  </a:lnTo>
                  <a:lnTo>
                    <a:pt x="418185" y="5362"/>
                  </a:lnTo>
                  <a:cubicBezTo>
                    <a:pt x="429866" y="1787"/>
                    <a:pt x="442019" y="0"/>
                    <a:pt x="454078" y="0"/>
                  </a:cubicBezTo>
                  <a:close/>
                </a:path>
              </a:pathLst>
            </a:custGeom>
            <a:solidFill>
              <a:srgbClr val="5EA2E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F0502020204030204"/>
                <a:ea typeface="微软雅黑"/>
                <a:cs typeface="+mn-cs"/>
              </a:endParaRPr>
            </a:p>
          </p:txBody>
        </p:sp>
      </p:grpSp>
      <p:sp>
        <p:nvSpPr>
          <p:cNvPr id="18" name="文本框 17">
            <a:extLst>
              <a:ext uri="{FF2B5EF4-FFF2-40B4-BE49-F238E27FC236}">
                <a16:creationId xmlns:a16="http://schemas.microsoft.com/office/drawing/2014/main" id="{5AEABEA4-5F6F-132C-898E-1A43A80DA43F}"/>
              </a:ext>
            </a:extLst>
          </p:cNvPr>
          <p:cNvSpPr txBox="1"/>
          <p:nvPr/>
        </p:nvSpPr>
        <p:spPr>
          <a:xfrm>
            <a:off x="826164" y="836958"/>
            <a:ext cx="7314536" cy="458459"/>
          </a:xfrm>
          <a:prstGeom prst="rect">
            <a:avLst/>
          </a:prstGeom>
          <a:noFill/>
        </p:spPr>
        <p:txBody>
          <a:bodyPr wrap="square">
            <a:spAutoFit/>
          </a:bodyPr>
          <a:lstStyle/>
          <a:p>
            <a:pPr algn="ctr" defTabSz="913765">
              <a:lnSpc>
                <a:spcPct val="150000"/>
              </a:lnSpc>
              <a:defRPr/>
            </a:pPr>
            <a:r>
              <a:rPr lang="zh-CN" altLang="en-US" b="1" dirty="0">
                <a:solidFill>
                  <a:prstClr val="white"/>
                </a:solidFill>
                <a:latin typeface="Arial" panose="020B0604020202020204" pitchFamily="34" charset="0"/>
                <a:ea typeface="微软雅黑" panose="020B0503020204020204" pitchFamily="34" charset="-122"/>
              </a:rPr>
              <a:t>弥补药品目录短板：独特双重机制、指南一线推荐、全球应用广泛</a:t>
            </a:r>
          </a:p>
        </p:txBody>
      </p:sp>
      <p:sp>
        <p:nvSpPr>
          <p:cNvPr id="19" name="圆角矩形 15">
            <a:extLst>
              <a:ext uri="{FF2B5EF4-FFF2-40B4-BE49-F238E27FC236}">
                <a16:creationId xmlns:a16="http://schemas.microsoft.com/office/drawing/2014/main" id="{8A1E26EA-9108-0386-913D-DCE981ED4154}"/>
              </a:ext>
            </a:extLst>
          </p:cNvPr>
          <p:cNvSpPr>
            <a:spLocks/>
          </p:cNvSpPr>
          <p:nvPr/>
        </p:nvSpPr>
        <p:spPr>
          <a:xfrm>
            <a:off x="396552" y="3549436"/>
            <a:ext cx="10967131" cy="498475"/>
          </a:xfrm>
          <a:prstGeom prst="roundRect">
            <a:avLst>
              <a:gd name="adj" fmla="val 50000"/>
            </a:avLst>
          </a:prstGeom>
          <a:gradFill>
            <a:gsLst>
              <a:gs pos="53000">
                <a:srgbClr val="2473BA"/>
              </a:gs>
              <a:gs pos="100000">
                <a:schemeClr val="bg1">
                  <a:alpha val="0"/>
                </a:schemeClr>
              </a:gs>
            </a:gsLst>
            <a:lin ang="0" scaled="0"/>
          </a:gra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lnSpc>
                <a:spcPct val="150000"/>
              </a:lnSpc>
            </a:pPr>
            <a:endParaRPr lang="en-US" altLang="zh-CN" sz="1200" b="1" dirty="0">
              <a:solidFill>
                <a:schemeClr val="accent6"/>
              </a:solidFill>
              <a:latin typeface="Arial" panose="020B0604020202020204" pitchFamily="34" charset="0"/>
              <a:ea typeface="微软雅黑" panose="020B0503020204020204" pitchFamily="34" charset="-122"/>
            </a:endParaRPr>
          </a:p>
        </p:txBody>
      </p:sp>
      <p:grpSp>
        <p:nvGrpSpPr>
          <p:cNvPr id="24" name="Group 16">
            <a:extLst>
              <a:ext uri="{FF2B5EF4-FFF2-40B4-BE49-F238E27FC236}">
                <a16:creationId xmlns:a16="http://schemas.microsoft.com/office/drawing/2014/main" id="{8BAF4D07-F7CD-7C76-479A-C4C15C4F2B2A}"/>
              </a:ext>
            </a:extLst>
          </p:cNvPr>
          <p:cNvGrpSpPr/>
          <p:nvPr/>
        </p:nvGrpSpPr>
        <p:grpSpPr>
          <a:xfrm>
            <a:off x="371153" y="3458035"/>
            <a:ext cx="607044" cy="607044"/>
            <a:chOff x="437204" y="925510"/>
            <a:chExt cx="754743" cy="754743"/>
          </a:xfrm>
        </p:grpSpPr>
        <p:sp>
          <p:nvSpPr>
            <p:cNvPr id="25" name="椭圆 24">
              <a:extLst>
                <a:ext uri="{FF2B5EF4-FFF2-40B4-BE49-F238E27FC236}">
                  <a16:creationId xmlns:a16="http://schemas.microsoft.com/office/drawing/2014/main" id="{0E1439B3-3100-18DD-0851-4F4A8A5CD944}"/>
                </a:ext>
              </a:extLst>
            </p:cNvPr>
            <p:cNvSpPr/>
            <p:nvPr/>
          </p:nvSpPr>
          <p:spPr>
            <a:xfrm>
              <a:off x="437204" y="925510"/>
              <a:ext cx="754743" cy="754743"/>
            </a:xfrm>
            <a:prstGeom prst="ellipse">
              <a:avLst/>
            </a:prstGeom>
            <a:solidFill>
              <a:schemeClr val="bg1"/>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p>
          </p:txBody>
        </p:sp>
        <p:sp>
          <p:nvSpPr>
            <p:cNvPr id="26" name="iconfont-11157-5276535">
              <a:extLst>
                <a:ext uri="{FF2B5EF4-FFF2-40B4-BE49-F238E27FC236}">
                  <a16:creationId xmlns:a16="http://schemas.microsoft.com/office/drawing/2014/main" id="{ED75C726-8E82-CF09-67F2-87D25C7AFA13}"/>
                </a:ext>
              </a:extLst>
            </p:cNvPr>
            <p:cNvSpPr/>
            <p:nvPr/>
          </p:nvSpPr>
          <p:spPr>
            <a:xfrm>
              <a:off x="606346" y="1103332"/>
              <a:ext cx="433677" cy="407118"/>
            </a:xfrm>
            <a:custGeom>
              <a:avLst/>
              <a:gdLst>
                <a:gd name="T0" fmla="*/ 10935 w 11055"/>
                <a:gd name="T1" fmla="*/ 4752 h 10378"/>
                <a:gd name="T2" fmla="*/ 5681 w 11055"/>
                <a:gd name="T3" fmla="*/ 80 h 10378"/>
                <a:gd name="T4" fmla="*/ 5374 w 11055"/>
                <a:gd name="T5" fmla="*/ 80 h 10378"/>
                <a:gd name="T6" fmla="*/ 120 w 11055"/>
                <a:gd name="T7" fmla="*/ 4752 h 10378"/>
                <a:gd name="T8" fmla="*/ 85 w 11055"/>
                <a:gd name="T9" fmla="*/ 5126 h 10378"/>
                <a:gd name="T10" fmla="*/ 428 w 11055"/>
                <a:gd name="T11" fmla="*/ 5163 h 10378"/>
                <a:gd name="T12" fmla="*/ 5528 w 11055"/>
                <a:gd name="T13" fmla="*/ 627 h 10378"/>
                <a:gd name="T14" fmla="*/ 10628 w 11055"/>
                <a:gd name="T15" fmla="*/ 5163 h 10378"/>
                <a:gd name="T16" fmla="*/ 10781 w 11055"/>
                <a:gd name="T17" fmla="*/ 5223 h 10378"/>
                <a:gd name="T18" fmla="*/ 10970 w 11055"/>
                <a:gd name="T19" fmla="*/ 5126 h 10378"/>
                <a:gd name="T20" fmla="*/ 10935 w 11055"/>
                <a:gd name="T21" fmla="*/ 4752 h 10378"/>
                <a:gd name="T22" fmla="*/ 5831 w 11055"/>
                <a:gd name="T23" fmla="*/ 4367 h 10378"/>
                <a:gd name="T24" fmla="*/ 5426 w 11055"/>
                <a:gd name="T25" fmla="*/ 4367 h 10378"/>
                <a:gd name="T26" fmla="*/ 5426 w 11055"/>
                <a:gd name="T27" fmla="*/ 5251 h 10378"/>
                <a:gd name="T28" fmla="*/ 4537 w 11055"/>
                <a:gd name="T29" fmla="*/ 5251 h 10378"/>
                <a:gd name="T30" fmla="*/ 4537 w 11055"/>
                <a:gd name="T31" fmla="*/ 5657 h 10378"/>
                <a:gd name="T32" fmla="*/ 5426 w 11055"/>
                <a:gd name="T33" fmla="*/ 5657 h 10378"/>
                <a:gd name="T34" fmla="*/ 5426 w 11055"/>
                <a:gd name="T35" fmla="*/ 6545 h 10378"/>
                <a:gd name="T36" fmla="*/ 5831 w 11055"/>
                <a:gd name="T37" fmla="*/ 6545 h 10378"/>
                <a:gd name="T38" fmla="*/ 5831 w 11055"/>
                <a:gd name="T39" fmla="*/ 5657 h 10378"/>
                <a:gd name="T40" fmla="*/ 6715 w 11055"/>
                <a:gd name="T41" fmla="*/ 5657 h 10378"/>
                <a:gd name="T42" fmla="*/ 6715 w 11055"/>
                <a:gd name="T43" fmla="*/ 5251 h 10378"/>
                <a:gd name="T44" fmla="*/ 5831 w 11055"/>
                <a:gd name="T45" fmla="*/ 5251 h 10378"/>
                <a:gd name="T46" fmla="*/ 5831 w 11055"/>
                <a:gd name="T47" fmla="*/ 4367 h 10378"/>
                <a:gd name="T48" fmla="*/ 6429 w 11055"/>
                <a:gd name="T49" fmla="*/ 3232 h 10378"/>
                <a:gd name="T50" fmla="*/ 4628 w 11055"/>
                <a:gd name="T51" fmla="*/ 3232 h 10378"/>
                <a:gd name="T52" fmla="*/ 2921 w 11055"/>
                <a:gd name="T53" fmla="*/ 4938 h 10378"/>
                <a:gd name="T54" fmla="*/ 2921 w 11055"/>
                <a:gd name="T55" fmla="*/ 6068 h 10378"/>
                <a:gd name="T56" fmla="*/ 4628 w 11055"/>
                <a:gd name="T57" fmla="*/ 7775 h 10378"/>
                <a:gd name="T58" fmla="*/ 5215 w 11055"/>
                <a:gd name="T59" fmla="*/ 7775 h 10378"/>
                <a:gd name="T60" fmla="*/ 4681 w 11055"/>
                <a:gd name="T61" fmla="*/ 9611 h 10378"/>
                <a:gd name="T62" fmla="*/ 2206 w 11055"/>
                <a:gd name="T63" fmla="*/ 9228 h 10378"/>
                <a:gd name="T64" fmla="*/ 2243 w 11055"/>
                <a:gd name="T65" fmla="*/ 8972 h 10378"/>
                <a:gd name="T66" fmla="*/ 1278 w 11055"/>
                <a:gd name="T67" fmla="*/ 8007 h 10378"/>
                <a:gd name="T68" fmla="*/ 313 w 11055"/>
                <a:gd name="T69" fmla="*/ 8972 h 10378"/>
                <a:gd name="T70" fmla="*/ 1278 w 11055"/>
                <a:gd name="T71" fmla="*/ 9937 h 10378"/>
                <a:gd name="T72" fmla="*/ 1884 w 11055"/>
                <a:gd name="T73" fmla="*/ 9722 h 10378"/>
                <a:gd name="T74" fmla="*/ 4026 w 11055"/>
                <a:gd name="T75" fmla="*/ 10378 h 10378"/>
                <a:gd name="T76" fmla="*/ 5020 w 11055"/>
                <a:gd name="T77" fmla="*/ 10092 h 10378"/>
                <a:gd name="T78" fmla="*/ 5806 w 11055"/>
                <a:gd name="T79" fmla="*/ 7775 h 10378"/>
                <a:gd name="T80" fmla="*/ 6430 w 11055"/>
                <a:gd name="T81" fmla="*/ 7775 h 10378"/>
                <a:gd name="T82" fmla="*/ 8136 w 11055"/>
                <a:gd name="T83" fmla="*/ 6068 h 10378"/>
                <a:gd name="T84" fmla="*/ 8136 w 11055"/>
                <a:gd name="T85" fmla="*/ 4938 h 10378"/>
                <a:gd name="T86" fmla="*/ 6429 w 11055"/>
                <a:gd name="T87" fmla="*/ 3232 h 10378"/>
                <a:gd name="T88" fmla="*/ 1628 w 11055"/>
                <a:gd name="T89" fmla="*/ 9106 h 10378"/>
                <a:gd name="T90" fmla="*/ 1541 w 11055"/>
                <a:gd name="T91" fmla="*/ 9202 h 10378"/>
                <a:gd name="T92" fmla="*/ 1518 w 11055"/>
                <a:gd name="T93" fmla="*/ 9260 h 10378"/>
                <a:gd name="T94" fmla="*/ 1276 w 11055"/>
                <a:gd name="T95" fmla="*/ 9348 h 10378"/>
                <a:gd name="T96" fmla="*/ 899 w 11055"/>
                <a:gd name="T97" fmla="*/ 8971 h 10378"/>
                <a:gd name="T98" fmla="*/ 1276 w 11055"/>
                <a:gd name="T99" fmla="*/ 8593 h 10378"/>
                <a:gd name="T100" fmla="*/ 1654 w 11055"/>
                <a:gd name="T101" fmla="*/ 8971 h 10378"/>
                <a:gd name="T102" fmla="*/ 1628 w 11055"/>
                <a:gd name="T103" fmla="*/ 9106 h 10378"/>
                <a:gd name="T104" fmla="*/ 7546 w 11055"/>
                <a:gd name="T105" fmla="*/ 6067 h 10378"/>
                <a:gd name="T106" fmla="*/ 6429 w 11055"/>
                <a:gd name="T107" fmla="*/ 7184 h 10378"/>
                <a:gd name="T108" fmla="*/ 4628 w 11055"/>
                <a:gd name="T109" fmla="*/ 7184 h 10378"/>
                <a:gd name="T110" fmla="*/ 3510 w 11055"/>
                <a:gd name="T111" fmla="*/ 6067 h 10378"/>
                <a:gd name="T112" fmla="*/ 3510 w 11055"/>
                <a:gd name="T113" fmla="*/ 4937 h 10378"/>
                <a:gd name="T114" fmla="*/ 4628 w 11055"/>
                <a:gd name="T115" fmla="*/ 3820 h 10378"/>
                <a:gd name="T116" fmla="*/ 6429 w 11055"/>
                <a:gd name="T117" fmla="*/ 3820 h 10378"/>
                <a:gd name="T118" fmla="*/ 7546 w 11055"/>
                <a:gd name="T119" fmla="*/ 4937 h 10378"/>
                <a:gd name="T120" fmla="*/ 7546 w 11055"/>
                <a:gd name="T121" fmla="*/ 6067 h 10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55" h="10378">
                  <a:moveTo>
                    <a:pt x="10935" y="4752"/>
                  </a:moveTo>
                  <a:lnTo>
                    <a:pt x="5681" y="80"/>
                  </a:lnTo>
                  <a:cubicBezTo>
                    <a:pt x="5591" y="0"/>
                    <a:pt x="5464" y="0"/>
                    <a:pt x="5374" y="80"/>
                  </a:cubicBezTo>
                  <a:lnTo>
                    <a:pt x="120" y="4752"/>
                  </a:lnTo>
                  <a:cubicBezTo>
                    <a:pt x="16" y="4845"/>
                    <a:pt x="0" y="5012"/>
                    <a:pt x="85" y="5126"/>
                  </a:cubicBezTo>
                  <a:cubicBezTo>
                    <a:pt x="170" y="5240"/>
                    <a:pt x="323" y="5257"/>
                    <a:pt x="428" y="5163"/>
                  </a:cubicBezTo>
                  <a:lnTo>
                    <a:pt x="5528" y="627"/>
                  </a:lnTo>
                  <a:lnTo>
                    <a:pt x="10628" y="5163"/>
                  </a:lnTo>
                  <a:cubicBezTo>
                    <a:pt x="10673" y="5203"/>
                    <a:pt x="10728" y="5223"/>
                    <a:pt x="10781" y="5223"/>
                  </a:cubicBezTo>
                  <a:cubicBezTo>
                    <a:pt x="10851" y="5223"/>
                    <a:pt x="10921" y="5190"/>
                    <a:pt x="10970" y="5126"/>
                  </a:cubicBezTo>
                  <a:cubicBezTo>
                    <a:pt x="11055" y="5012"/>
                    <a:pt x="11039" y="4846"/>
                    <a:pt x="10935" y="4752"/>
                  </a:cubicBezTo>
                  <a:close/>
                  <a:moveTo>
                    <a:pt x="5831" y="4367"/>
                  </a:moveTo>
                  <a:lnTo>
                    <a:pt x="5426" y="4367"/>
                  </a:lnTo>
                  <a:lnTo>
                    <a:pt x="5426" y="5251"/>
                  </a:lnTo>
                  <a:lnTo>
                    <a:pt x="4537" y="5251"/>
                  </a:lnTo>
                  <a:lnTo>
                    <a:pt x="4537" y="5657"/>
                  </a:lnTo>
                  <a:lnTo>
                    <a:pt x="5426" y="5657"/>
                  </a:lnTo>
                  <a:lnTo>
                    <a:pt x="5426" y="6545"/>
                  </a:lnTo>
                  <a:lnTo>
                    <a:pt x="5831" y="6545"/>
                  </a:lnTo>
                  <a:lnTo>
                    <a:pt x="5831" y="5657"/>
                  </a:lnTo>
                  <a:lnTo>
                    <a:pt x="6715" y="5657"/>
                  </a:lnTo>
                  <a:lnTo>
                    <a:pt x="6715" y="5251"/>
                  </a:lnTo>
                  <a:lnTo>
                    <a:pt x="5831" y="5251"/>
                  </a:lnTo>
                  <a:lnTo>
                    <a:pt x="5831" y="4367"/>
                  </a:lnTo>
                  <a:close/>
                  <a:moveTo>
                    <a:pt x="6429" y="3232"/>
                  </a:moveTo>
                  <a:lnTo>
                    <a:pt x="4628" y="3232"/>
                  </a:lnTo>
                  <a:cubicBezTo>
                    <a:pt x="3688" y="3232"/>
                    <a:pt x="2921" y="3997"/>
                    <a:pt x="2921" y="4938"/>
                  </a:cubicBezTo>
                  <a:lnTo>
                    <a:pt x="2921" y="6068"/>
                  </a:lnTo>
                  <a:cubicBezTo>
                    <a:pt x="2921" y="7008"/>
                    <a:pt x="3686" y="7775"/>
                    <a:pt x="4628" y="7775"/>
                  </a:cubicBezTo>
                  <a:lnTo>
                    <a:pt x="5215" y="7775"/>
                  </a:lnTo>
                  <a:cubicBezTo>
                    <a:pt x="5259" y="8258"/>
                    <a:pt x="5229" y="9230"/>
                    <a:pt x="4681" y="9611"/>
                  </a:cubicBezTo>
                  <a:cubicBezTo>
                    <a:pt x="4200" y="9946"/>
                    <a:pt x="3346" y="9813"/>
                    <a:pt x="2206" y="9228"/>
                  </a:cubicBezTo>
                  <a:cubicBezTo>
                    <a:pt x="2229" y="9147"/>
                    <a:pt x="2243" y="9061"/>
                    <a:pt x="2243" y="8972"/>
                  </a:cubicBezTo>
                  <a:cubicBezTo>
                    <a:pt x="2243" y="8439"/>
                    <a:pt x="1810" y="8007"/>
                    <a:pt x="1278" y="8007"/>
                  </a:cubicBezTo>
                  <a:cubicBezTo>
                    <a:pt x="745" y="8007"/>
                    <a:pt x="313" y="8439"/>
                    <a:pt x="313" y="8972"/>
                  </a:cubicBezTo>
                  <a:cubicBezTo>
                    <a:pt x="313" y="9505"/>
                    <a:pt x="745" y="9937"/>
                    <a:pt x="1278" y="9937"/>
                  </a:cubicBezTo>
                  <a:cubicBezTo>
                    <a:pt x="1508" y="9937"/>
                    <a:pt x="1719" y="9856"/>
                    <a:pt x="1884" y="9722"/>
                  </a:cubicBezTo>
                  <a:cubicBezTo>
                    <a:pt x="2723" y="10158"/>
                    <a:pt x="3439" y="10378"/>
                    <a:pt x="4026" y="10378"/>
                  </a:cubicBezTo>
                  <a:cubicBezTo>
                    <a:pt x="4414" y="10378"/>
                    <a:pt x="4746" y="10283"/>
                    <a:pt x="5020" y="10092"/>
                  </a:cubicBezTo>
                  <a:cubicBezTo>
                    <a:pt x="5842" y="9518"/>
                    <a:pt x="5844" y="8285"/>
                    <a:pt x="5806" y="7775"/>
                  </a:cubicBezTo>
                  <a:lnTo>
                    <a:pt x="6430" y="7775"/>
                  </a:lnTo>
                  <a:cubicBezTo>
                    <a:pt x="7370" y="7775"/>
                    <a:pt x="8136" y="7009"/>
                    <a:pt x="8136" y="6068"/>
                  </a:cubicBezTo>
                  <a:lnTo>
                    <a:pt x="8136" y="4938"/>
                  </a:lnTo>
                  <a:cubicBezTo>
                    <a:pt x="8134" y="3997"/>
                    <a:pt x="7369" y="3232"/>
                    <a:pt x="6429" y="3232"/>
                  </a:cubicBezTo>
                  <a:close/>
                  <a:moveTo>
                    <a:pt x="1628" y="9106"/>
                  </a:moveTo>
                  <a:cubicBezTo>
                    <a:pt x="1593" y="9131"/>
                    <a:pt x="1563" y="9162"/>
                    <a:pt x="1541" y="9202"/>
                  </a:cubicBezTo>
                  <a:cubicBezTo>
                    <a:pt x="1531" y="9221"/>
                    <a:pt x="1524" y="9240"/>
                    <a:pt x="1518" y="9260"/>
                  </a:cubicBezTo>
                  <a:cubicBezTo>
                    <a:pt x="1453" y="9315"/>
                    <a:pt x="1369" y="9348"/>
                    <a:pt x="1276" y="9348"/>
                  </a:cubicBezTo>
                  <a:cubicBezTo>
                    <a:pt x="1069" y="9348"/>
                    <a:pt x="899" y="9180"/>
                    <a:pt x="899" y="8971"/>
                  </a:cubicBezTo>
                  <a:cubicBezTo>
                    <a:pt x="899" y="8763"/>
                    <a:pt x="1067" y="8593"/>
                    <a:pt x="1276" y="8593"/>
                  </a:cubicBezTo>
                  <a:cubicBezTo>
                    <a:pt x="1484" y="8593"/>
                    <a:pt x="1654" y="8762"/>
                    <a:pt x="1654" y="8971"/>
                  </a:cubicBezTo>
                  <a:cubicBezTo>
                    <a:pt x="1654" y="9018"/>
                    <a:pt x="1644" y="9063"/>
                    <a:pt x="1628" y="9106"/>
                  </a:cubicBezTo>
                  <a:close/>
                  <a:moveTo>
                    <a:pt x="7546" y="6067"/>
                  </a:moveTo>
                  <a:cubicBezTo>
                    <a:pt x="7546" y="6683"/>
                    <a:pt x="7045" y="7184"/>
                    <a:pt x="6429" y="7184"/>
                  </a:cubicBezTo>
                  <a:lnTo>
                    <a:pt x="4628" y="7184"/>
                  </a:lnTo>
                  <a:cubicBezTo>
                    <a:pt x="4011" y="7184"/>
                    <a:pt x="3510" y="6683"/>
                    <a:pt x="3510" y="6067"/>
                  </a:cubicBezTo>
                  <a:lnTo>
                    <a:pt x="3510" y="4937"/>
                  </a:lnTo>
                  <a:cubicBezTo>
                    <a:pt x="3510" y="4321"/>
                    <a:pt x="4011" y="3820"/>
                    <a:pt x="4628" y="3820"/>
                  </a:cubicBezTo>
                  <a:lnTo>
                    <a:pt x="6429" y="3820"/>
                  </a:lnTo>
                  <a:cubicBezTo>
                    <a:pt x="7045" y="3820"/>
                    <a:pt x="7546" y="4321"/>
                    <a:pt x="7546" y="4937"/>
                  </a:cubicBezTo>
                  <a:lnTo>
                    <a:pt x="7546" y="6067"/>
                  </a:lnTo>
                  <a:close/>
                </a:path>
              </a:pathLst>
            </a:custGeom>
            <a:solidFill>
              <a:srgbClr val="2473BA"/>
            </a:solidFill>
            <a:ln w="3175">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F0502020204030204"/>
                <a:ea typeface="微软雅黑"/>
                <a:cs typeface="+mn-cs"/>
              </a:endParaRPr>
            </a:p>
          </p:txBody>
        </p:sp>
      </p:grpSp>
      <p:sp>
        <p:nvSpPr>
          <p:cNvPr id="23" name="文本框 22">
            <a:extLst>
              <a:ext uri="{FF2B5EF4-FFF2-40B4-BE49-F238E27FC236}">
                <a16:creationId xmlns:a16="http://schemas.microsoft.com/office/drawing/2014/main" id="{5EE40694-1C7E-53BE-F34F-FE1D5E00EDB8}"/>
              </a:ext>
            </a:extLst>
          </p:cNvPr>
          <p:cNvSpPr txBox="1"/>
          <p:nvPr/>
        </p:nvSpPr>
        <p:spPr>
          <a:xfrm>
            <a:off x="826164" y="3535693"/>
            <a:ext cx="2971136" cy="458459"/>
          </a:xfrm>
          <a:prstGeom prst="rect">
            <a:avLst/>
          </a:prstGeom>
          <a:noFill/>
        </p:spPr>
        <p:txBody>
          <a:bodyPr wrap="square">
            <a:spAutoFit/>
          </a:bodyPr>
          <a:lstStyle/>
          <a:p>
            <a:pPr algn="ctr" defTabSz="913765">
              <a:lnSpc>
                <a:spcPct val="150000"/>
              </a:lnSpc>
              <a:defRPr/>
            </a:pPr>
            <a:r>
              <a:rPr lang="zh-CN" altLang="en-US" b="1" dirty="0">
                <a:solidFill>
                  <a:prstClr val="white"/>
                </a:solidFill>
                <a:latin typeface="Arial" panose="020B0604020202020204" pitchFamily="34" charset="0"/>
                <a:ea typeface="微软雅黑" panose="020B0503020204020204" pitchFamily="34" charset="-122"/>
              </a:rPr>
              <a:t>临床管理难度：相对低</a:t>
            </a:r>
          </a:p>
        </p:txBody>
      </p:sp>
    </p:spTree>
    <p:custDataLst>
      <p:tags r:id="rId1"/>
    </p:custDataLst>
    <p:extLst>
      <p:ext uri="{BB962C8B-B14F-4D97-AF65-F5344CB8AC3E}">
        <p14:creationId xmlns:p14="http://schemas.microsoft.com/office/powerpoint/2010/main" val="1942088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占位符 3">
            <a:extLst>
              <a:ext uri="{FF2B5EF4-FFF2-40B4-BE49-F238E27FC236}">
                <a16:creationId xmlns:a16="http://schemas.microsoft.com/office/drawing/2014/main" id="{7FC71E20-7FB8-490C-A95B-DDD84AE32BF2}"/>
              </a:ext>
            </a:extLst>
          </p:cNvPr>
          <p:cNvSpPr txBox="1">
            <a:spLocks/>
          </p:cNvSpPr>
          <p:nvPr/>
        </p:nvSpPr>
        <p:spPr>
          <a:xfrm>
            <a:off x="371056" y="846493"/>
            <a:ext cx="11505292" cy="383016"/>
          </a:xfrm>
          <a:prstGeom prst="rect">
            <a:avLst/>
          </a:prstGeom>
        </p:spPr>
        <p:txBody>
          <a:bodyPr>
            <a:normAutofit/>
          </a:bodyPr>
          <a:lstStyle>
            <a:lvl1pPr marL="0" indent="0" algn="l" defTabSz="1219170" rtl="0" eaLnBrk="1" latinLnBrk="0" hangingPunct="1">
              <a:spcBef>
                <a:spcPts val="1600"/>
              </a:spcBef>
              <a:spcAft>
                <a:spcPts val="0"/>
              </a:spcAft>
              <a:buFontTx/>
              <a:buNone/>
              <a:defRPr sz="1867" b="1" i="0" kern="1200" baseline="0">
                <a:solidFill>
                  <a:srgbClr val="82286E"/>
                </a:solidFill>
                <a:latin typeface="Arial" pitchFamily="34" charset="0"/>
                <a:ea typeface="+mn-ea"/>
                <a:cs typeface="Arial" pitchFamily="34" charset="0"/>
              </a:defRPr>
            </a:lvl1pPr>
            <a:lvl2pPr marL="357708" indent="-192613" algn="l" defTabSz="1219170" rtl="0" eaLnBrk="1" latinLnBrk="0" hangingPunct="1">
              <a:spcBef>
                <a:spcPts val="533"/>
              </a:spcBef>
              <a:spcAft>
                <a:spcPts val="0"/>
              </a:spcAft>
              <a:buClr>
                <a:srgbClr val="782A6B"/>
              </a:buClr>
              <a:buSzPct val="100000"/>
              <a:buFont typeface="Arial" panose="020B0604020202020204" pitchFamily="34" charset="0"/>
              <a:buChar char="–"/>
              <a:tabLst/>
              <a:defRPr sz="1600" kern="1200">
                <a:solidFill>
                  <a:srgbClr val="5D6971"/>
                </a:solidFill>
                <a:latin typeface="Arial" pitchFamily="34" charset="0"/>
                <a:ea typeface="+mn-ea"/>
                <a:cs typeface="Arial" pitchFamily="34" charset="0"/>
              </a:defRPr>
            </a:lvl2pPr>
            <a:lvl3pPr marL="556670" indent="-158747" algn="l" defTabSz="1219170" rtl="0" eaLnBrk="1" latinLnBrk="0" hangingPunct="1">
              <a:spcBef>
                <a:spcPts val="533"/>
              </a:spcBef>
              <a:spcAft>
                <a:spcPts val="0"/>
              </a:spcAft>
              <a:buClr>
                <a:srgbClr val="782A6B"/>
              </a:buClr>
              <a:buFont typeface="Arial" panose="020B0604020202020204" pitchFamily="34" charset="0"/>
              <a:buChar char="•"/>
              <a:defRPr sz="1600" kern="1200">
                <a:solidFill>
                  <a:srgbClr val="5D6971"/>
                </a:solidFill>
                <a:latin typeface="Arial" pitchFamily="34" charset="0"/>
                <a:ea typeface="+mn-ea"/>
                <a:cs typeface="Arial" pitchFamily="34" charset="0"/>
              </a:defRPr>
            </a:lvl3pPr>
            <a:lvl4pPr marL="791614" indent="-182029" algn="l" defTabSz="1219170" rtl="0" eaLnBrk="1" latinLnBrk="0" hangingPunct="1">
              <a:spcBef>
                <a:spcPts val="533"/>
              </a:spcBef>
              <a:spcAft>
                <a:spcPts val="0"/>
              </a:spcAft>
              <a:buClr>
                <a:srgbClr val="77BD1F"/>
              </a:buClr>
              <a:buSzPct val="100000"/>
              <a:buFont typeface="Arial" panose="020B0604020202020204" pitchFamily="34" charset="0"/>
              <a:buChar char="–"/>
              <a:defRPr sz="1467" kern="1200">
                <a:solidFill>
                  <a:srgbClr val="5D6971"/>
                </a:solidFill>
                <a:latin typeface="Arial" pitchFamily="34" charset="0"/>
                <a:ea typeface="+mn-ea"/>
                <a:cs typeface="Arial" pitchFamily="34" charset="0"/>
              </a:defRPr>
            </a:lvl4pPr>
            <a:lvl5pPr marL="927077" indent="-131230" algn="l" defTabSz="1219170" rtl="0" eaLnBrk="1" latinLnBrk="0" hangingPunct="1">
              <a:spcBef>
                <a:spcPts val="533"/>
              </a:spcBef>
              <a:spcAft>
                <a:spcPts val="0"/>
              </a:spcAft>
              <a:buClr>
                <a:srgbClr val="77BD1F"/>
              </a:buClr>
              <a:buFont typeface="Arial" panose="020B0604020202020204" pitchFamily="34" charset="0"/>
              <a:buChar char="•"/>
              <a:defRPr sz="1467" kern="1200">
                <a:solidFill>
                  <a:srgbClr val="5D6971"/>
                </a:solidFill>
                <a:latin typeface="Arial" pitchFamily="34" charset="0"/>
                <a:ea typeface="+mn-ea"/>
                <a:cs typeface="Arial" pitchFamily="34" charset="0"/>
              </a:defRPr>
            </a:lvl5pPr>
            <a:lvl6pPr marL="1445648" indent="-226478" algn="l" defTabSz="1219170" rtl="0" eaLnBrk="1" latinLnBrk="0" hangingPunct="1">
              <a:spcBef>
                <a:spcPts val="533"/>
              </a:spcBef>
              <a:spcAft>
                <a:spcPts val="0"/>
              </a:spcAft>
              <a:buClr>
                <a:srgbClr val="782A6B"/>
              </a:buClr>
              <a:buSzPct val="85000"/>
              <a:buFont typeface="Arial" pitchFamily="34" charset="0"/>
              <a:buChar char="•"/>
              <a:defRPr sz="1467" kern="1200" baseline="0">
                <a:solidFill>
                  <a:srgbClr val="5D6971"/>
                </a:solidFill>
                <a:latin typeface="Arial" pitchFamily="34" charset="0"/>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600"/>
              </a:spcBef>
              <a:spcAft>
                <a:spcPts val="0"/>
              </a:spcAft>
              <a:buClrTx/>
              <a:buSzTx/>
              <a:buFontTx/>
              <a:buNone/>
              <a:tabLst/>
              <a:defRPr/>
            </a:pPr>
            <a:endParaRPr kumimoji="0" lang="zh-CN" altLang="en-US" sz="1867" b="1" i="0" u="none" strike="noStrike" kern="1200" cap="none" spc="0" normalizeH="0" baseline="0" noProof="0" dirty="0">
              <a:ln>
                <a:noFill/>
              </a:ln>
              <a:solidFill>
                <a:srgbClr val="82286E"/>
              </a:solidFill>
              <a:effectLst/>
              <a:uLnTx/>
              <a:uFillTx/>
              <a:latin typeface="Arial" pitchFamily="34" charset="0"/>
              <a:ea typeface="黑体" panose="02010609060101010101" pitchFamily="49" charset="-122"/>
              <a:cs typeface="Arial" pitchFamily="34" charset="0"/>
            </a:endParaRPr>
          </a:p>
        </p:txBody>
      </p:sp>
      <p:sp>
        <p:nvSpPr>
          <p:cNvPr id="42" name="标题 1">
            <a:extLst>
              <a:ext uri="{FF2B5EF4-FFF2-40B4-BE49-F238E27FC236}">
                <a16:creationId xmlns:a16="http://schemas.microsoft.com/office/drawing/2014/main" id="{F4AC2E24-2AD0-B470-3582-089C4026A571}"/>
              </a:ext>
            </a:extLst>
          </p:cNvPr>
          <p:cNvSpPr txBox="1">
            <a:spLocks/>
          </p:cNvSpPr>
          <p:nvPr/>
        </p:nvSpPr>
        <p:spPr>
          <a:xfrm>
            <a:off x="228600" y="379536"/>
            <a:ext cx="11129681" cy="6723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772160"/>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800" b="1" i="0" u="none" strike="noStrike" kern="1200" cap="none" spc="0" normalizeH="0" baseline="0" noProof="0" dirty="0">
                <a:ln>
                  <a:noFill/>
                </a:ln>
                <a:solidFill>
                  <a:srgbClr val="2473BA"/>
                </a:solidFill>
                <a:effectLst/>
                <a:uLnTx/>
                <a:uFillTx/>
                <a:latin typeface="微软雅黑" panose="020B0503020204020204" pitchFamily="34" charset="-122"/>
                <a:ea typeface="微软雅黑" panose="020B0503020204020204" pitchFamily="34" charset="-122"/>
                <a:cs typeface="+mj-cs"/>
              </a:rPr>
              <a:t>目录</a:t>
            </a:r>
          </a:p>
        </p:txBody>
      </p:sp>
      <p:grpSp>
        <p:nvGrpSpPr>
          <p:cNvPr id="5" name="Group 1">
            <a:extLst>
              <a:ext uri="{FF2B5EF4-FFF2-40B4-BE49-F238E27FC236}">
                <a16:creationId xmlns:a16="http://schemas.microsoft.com/office/drawing/2014/main" id="{C0B5F902-DC89-E48F-8570-72AA38DF7476}"/>
              </a:ext>
            </a:extLst>
          </p:cNvPr>
          <p:cNvGrpSpPr/>
          <p:nvPr/>
        </p:nvGrpSpPr>
        <p:grpSpPr>
          <a:xfrm>
            <a:off x="1462638" y="1996448"/>
            <a:ext cx="4257564" cy="697705"/>
            <a:chOff x="3082939" y="1802672"/>
            <a:chExt cx="7290843" cy="697705"/>
          </a:xfrm>
        </p:grpSpPr>
        <p:sp>
          <p:nvSpPr>
            <p:cNvPr id="6" name="矩形 5">
              <a:extLst>
                <a:ext uri="{FF2B5EF4-FFF2-40B4-BE49-F238E27FC236}">
                  <a16:creationId xmlns:a16="http://schemas.microsoft.com/office/drawing/2014/main" id="{0F5D0583-5839-AF34-2826-79796544BBAA}"/>
                </a:ext>
              </a:extLst>
            </p:cNvPr>
            <p:cNvSpPr/>
            <p:nvPr/>
          </p:nvSpPr>
          <p:spPr>
            <a:xfrm flipH="1">
              <a:off x="3122432" y="1802672"/>
              <a:ext cx="7251350" cy="697705"/>
            </a:xfrm>
            <a:prstGeom prst="rect">
              <a:avLst/>
            </a:prstGeom>
            <a:solidFill>
              <a:srgbClr val="2473B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7" name="矩形 6">
              <a:extLst>
                <a:ext uri="{FF2B5EF4-FFF2-40B4-BE49-F238E27FC236}">
                  <a16:creationId xmlns:a16="http://schemas.microsoft.com/office/drawing/2014/main" id="{3E6D419B-06FD-4C2F-DC1E-646F26610AFC}"/>
                </a:ext>
              </a:extLst>
            </p:cNvPr>
            <p:cNvSpPr/>
            <p:nvPr/>
          </p:nvSpPr>
          <p:spPr>
            <a:xfrm>
              <a:off x="3335220" y="1907932"/>
              <a:ext cx="7038561"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sym typeface="+mn-lt"/>
                </a:rPr>
                <a:t>药品基本信息</a:t>
              </a: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sym typeface="+mn-lt"/>
                </a:rPr>
                <a:t> </a:t>
              </a:r>
              <a:endParaRPr kumimoji="0" lang="zh-CN" altLang="en-US" sz="2400" b="0" i="0" u="none" strike="noStrike" kern="1200" cap="none" spc="0" normalizeH="0" baseline="0" noProof="0" dirty="0">
                <a:ln>
                  <a:noFill/>
                </a:ln>
                <a:solidFill>
                  <a:srgbClr val="2473BA"/>
                </a:solidFill>
                <a:effectLst/>
                <a:uLnTx/>
                <a:uFillTx/>
                <a:latin typeface="Calibri"/>
                <a:ea typeface="微软雅黑" panose="020B0503020204020204" pitchFamily="34" charset="-122"/>
                <a:cs typeface="+mn-cs"/>
              </a:endParaRPr>
            </a:p>
          </p:txBody>
        </p:sp>
        <p:sp>
          <p:nvSpPr>
            <p:cNvPr id="8" name="矩形 7">
              <a:extLst>
                <a:ext uri="{FF2B5EF4-FFF2-40B4-BE49-F238E27FC236}">
                  <a16:creationId xmlns:a16="http://schemas.microsoft.com/office/drawing/2014/main" id="{2103C22C-CCC1-D9F1-9DC7-710968E595DB}"/>
                </a:ext>
              </a:extLst>
            </p:cNvPr>
            <p:cNvSpPr/>
            <p:nvPr/>
          </p:nvSpPr>
          <p:spPr>
            <a:xfrm flipH="1">
              <a:off x="3082939" y="1802672"/>
              <a:ext cx="34215" cy="697705"/>
            </a:xfrm>
            <a:prstGeom prst="rect">
              <a:avLst/>
            </a:prstGeom>
            <a:solidFill>
              <a:srgbClr val="7D2F6D"/>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grpSp>
      <p:sp>
        <p:nvSpPr>
          <p:cNvPr id="3" name="矩形 2">
            <a:extLst>
              <a:ext uri="{FF2B5EF4-FFF2-40B4-BE49-F238E27FC236}">
                <a16:creationId xmlns:a16="http://schemas.microsoft.com/office/drawing/2014/main" id="{3AF98796-D7A7-B96A-CECA-72CE096C1EC8}"/>
              </a:ext>
            </a:extLst>
          </p:cNvPr>
          <p:cNvSpPr/>
          <p:nvPr/>
        </p:nvSpPr>
        <p:spPr>
          <a:xfrm>
            <a:off x="780715" y="1996448"/>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rPr>
              <a:t>01</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14" name="矩形 13">
            <a:extLst>
              <a:ext uri="{FF2B5EF4-FFF2-40B4-BE49-F238E27FC236}">
                <a16:creationId xmlns:a16="http://schemas.microsoft.com/office/drawing/2014/main" id="{AC5E0A03-E831-31D9-989F-339DFD61224F}"/>
              </a:ext>
            </a:extLst>
          </p:cNvPr>
          <p:cNvSpPr/>
          <p:nvPr/>
        </p:nvSpPr>
        <p:spPr>
          <a:xfrm flipH="1">
            <a:off x="1485699" y="3264297"/>
            <a:ext cx="4234502" cy="697705"/>
          </a:xfrm>
          <a:prstGeom prst="rect">
            <a:avLst/>
          </a:prstGeom>
          <a:solidFill>
            <a:srgbClr val="2473B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5" name="矩形 14">
            <a:extLst>
              <a:ext uri="{FF2B5EF4-FFF2-40B4-BE49-F238E27FC236}">
                <a16:creationId xmlns:a16="http://schemas.microsoft.com/office/drawing/2014/main" id="{1E1866BA-CA1D-FBD4-6521-85879A895B53}"/>
              </a:ext>
            </a:extLst>
          </p:cNvPr>
          <p:cNvSpPr/>
          <p:nvPr/>
        </p:nvSpPr>
        <p:spPr>
          <a:xfrm>
            <a:off x="1609959" y="3369557"/>
            <a:ext cx="4110241"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sym typeface="+mn-lt"/>
              </a:rPr>
              <a:t>有效性</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16" name="矩形 15">
            <a:extLst>
              <a:ext uri="{FF2B5EF4-FFF2-40B4-BE49-F238E27FC236}">
                <a16:creationId xmlns:a16="http://schemas.microsoft.com/office/drawing/2014/main" id="{3F21FE83-328A-E810-DA95-8F86306E15D8}"/>
              </a:ext>
            </a:extLst>
          </p:cNvPr>
          <p:cNvSpPr/>
          <p:nvPr/>
        </p:nvSpPr>
        <p:spPr>
          <a:xfrm flipH="1">
            <a:off x="1462637" y="3264297"/>
            <a:ext cx="19980" cy="697705"/>
          </a:xfrm>
          <a:prstGeom prst="rect">
            <a:avLst/>
          </a:prstGeom>
          <a:solidFill>
            <a:srgbClr val="7D2F6D"/>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17" name="矩形 16">
            <a:extLst>
              <a:ext uri="{FF2B5EF4-FFF2-40B4-BE49-F238E27FC236}">
                <a16:creationId xmlns:a16="http://schemas.microsoft.com/office/drawing/2014/main" id="{B890CD26-E079-CD10-55A6-B8CE5F315216}"/>
              </a:ext>
            </a:extLst>
          </p:cNvPr>
          <p:cNvSpPr/>
          <p:nvPr/>
        </p:nvSpPr>
        <p:spPr>
          <a:xfrm>
            <a:off x="780714" y="3264297"/>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rPr>
              <a:t>03</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19" name="矩形 18">
            <a:extLst>
              <a:ext uri="{FF2B5EF4-FFF2-40B4-BE49-F238E27FC236}">
                <a16:creationId xmlns:a16="http://schemas.microsoft.com/office/drawing/2014/main" id="{E0522555-2FD3-B6F6-F4C7-49A03A57BC0F}"/>
              </a:ext>
            </a:extLst>
          </p:cNvPr>
          <p:cNvSpPr/>
          <p:nvPr/>
        </p:nvSpPr>
        <p:spPr>
          <a:xfrm flipH="1">
            <a:off x="1485698" y="4544791"/>
            <a:ext cx="4234502" cy="697705"/>
          </a:xfrm>
          <a:prstGeom prst="rect">
            <a:avLst/>
          </a:prstGeom>
          <a:solidFill>
            <a:srgbClr val="2473B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0" name="矩形 19">
            <a:extLst>
              <a:ext uri="{FF2B5EF4-FFF2-40B4-BE49-F238E27FC236}">
                <a16:creationId xmlns:a16="http://schemas.microsoft.com/office/drawing/2014/main" id="{8CA1343B-05E5-7C3A-95E4-5F7E091E7858}"/>
              </a:ext>
            </a:extLst>
          </p:cNvPr>
          <p:cNvSpPr/>
          <p:nvPr/>
        </p:nvSpPr>
        <p:spPr>
          <a:xfrm>
            <a:off x="1609958" y="4650051"/>
            <a:ext cx="4110241"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dirty="0">
                <a:solidFill>
                  <a:srgbClr val="2473BA"/>
                </a:solidFill>
                <a:latin typeface="Arial" panose="020F0502020204030204"/>
                <a:ea typeface="微软雅黑"/>
                <a:cs typeface="+mn-ea"/>
                <a:sym typeface="+mn-lt"/>
              </a:rPr>
              <a:t>公平</a:t>
            </a:r>
            <a:r>
              <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sym typeface="+mn-lt"/>
              </a:rPr>
              <a:t>性</a:t>
            </a:r>
            <a:endParaRPr kumimoji="0" lang="zh-CN" altLang="en-US" sz="2400" b="0" i="0" u="none" strike="noStrike" kern="1200" cap="none" spc="0" normalizeH="0" baseline="0" noProof="0" dirty="0">
              <a:ln>
                <a:noFill/>
              </a:ln>
              <a:solidFill>
                <a:srgbClr val="2473BA"/>
              </a:solidFill>
              <a:effectLst/>
              <a:uLnTx/>
              <a:uFillTx/>
              <a:latin typeface="Calibri"/>
              <a:ea typeface="微软雅黑" panose="020B0503020204020204" pitchFamily="34" charset="-122"/>
              <a:cs typeface="+mn-cs"/>
            </a:endParaRPr>
          </a:p>
        </p:txBody>
      </p:sp>
      <p:sp>
        <p:nvSpPr>
          <p:cNvPr id="21" name="矩形 20">
            <a:extLst>
              <a:ext uri="{FF2B5EF4-FFF2-40B4-BE49-F238E27FC236}">
                <a16:creationId xmlns:a16="http://schemas.microsoft.com/office/drawing/2014/main" id="{465D1FB1-2D5E-E573-1303-B2F7F689818C}"/>
              </a:ext>
            </a:extLst>
          </p:cNvPr>
          <p:cNvSpPr/>
          <p:nvPr/>
        </p:nvSpPr>
        <p:spPr>
          <a:xfrm flipH="1">
            <a:off x="1462636" y="4544791"/>
            <a:ext cx="19980" cy="697705"/>
          </a:xfrm>
          <a:prstGeom prst="rect">
            <a:avLst/>
          </a:prstGeom>
          <a:solidFill>
            <a:srgbClr val="7D2F6D"/>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2" name="矩形 21">
            <a:extLst>
              <a:ext uri="{FF2B5EF4-FFF2-40B4-BE49-F238E27FC236}">
                <a16:creationId xmlns:a16="http://schemas.microsoft.com/office/drawing/2014/main" id="{2B6A3C5A-C559-7A5B-FD1F-5C91809496D5}"/>
              </a:ext>
            </a:extLst>
          </p:cNvPr>
          <p:cNvSpPr/>
          <p:nvPr/>
        </p:nvSpPr>
        <p:spPr>
          <a:xfrm>
            <a:off x="780713" y="4544791"/>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rPr>
              <a:t>05</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25" name="矩形 24">
            <a:extLst>
              <a:ext uri="{FF2B5EF4-FFF2-40B4-BE49-F238E27FC236}">
                <a16:creationId xmlns:a16="http://schemas.microsoft.com/office/drawing/2014/main" id="{49CF87F2-40FA-1783-760E-579750BABA19}"/>
              </a:ext>
            </a:extLst>
          </p:cNvPr>
          <p:cNvSpPr/>
          <p:nvPr/>
        </p:nvSpPr>
        <p:spPr>
          <a:xfrm flipH="1">
            <a:off x="6753938" y="1996448"/>
            <a:ext cx="4234502" cy="697705"/>
          </a:xfrm>
          <a:prstGeom prst="rect">
            <a:avLst/>
          </a:prstGeom>
          <a:solidFill>
            <a:srgbClr val="2473B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6" name="矩形 25">
            <a:extLst>
              <a:ext uri="{FF2B5EF4-FFF2-40B4-BE49-F238E27FC236}">
                <a16:creationId xmlns:a16="http://schemas.microsoft.com/office/drawing/2014/main" id="{6B20B94F-EBDC-9503-E6BC-0E58BD573508}"/>
              </a:ext>
            </a:extLst>
          </p:cNvPr>
          <p:cNvSpPr/>
          <p:nvPr/>
        </p:nvSpPr>
        <p:spPr>
          <a:xfrm>
            <a:off x="6878198" y="2101708"/>
            <a:ext cx="4110241"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rPr>
              <a:t>安全性</a:t>
            </a:r>
          </a:p>
        </p:txBody>
      </p:sp>
      <p:sp>
        <p:nvSpPr>
          <p:cNvPr id="27" name="矩形 26">
            <a:extLst>
              <a:ext uri="{FF2B5EF4-FFF2-40B4-BE49-F238E27FC236}">
                <a16:creationId xmlns:a16="http://schemas.microsoft.com/office/drawing/2014/main" id="{0D5146EA-C5BB-EDE9-22F6-3B9DFDF13104}"/>
              </a:ext>
            </a:extLst>
          </p:cNvPr>
          <p:cNvSpPr/>
          <p:nvPr/>
        </p:nvSpPr>
        <p:spPr>
          <a:xfrm flipH="1">
            <a:off x="6730876" y="1996448"/>
            <a:ext cx="19980" cy="697705"/>
          </a:xfrm>
          <a:prstGeom prst="rect">
            <a:avLst/>
          </a:prstGeom>
          <a:solidFill>
            <a:srgbClr val="7D2F6D"/>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28" name="矩形 27">
            <a:extLst>
              <a:ext uri="{FF2B5EF4-FFF2-40B4-BE49-F238E27FC236}">
                <a16:creationId xmlns:a16="http://schemas.microsoft.com/office/drawing/2014/main" id="{8A1BC4D9-8DE0-6927-E233-A1C4C61175A5}"/>
              </a:ext>
            </a:extLst>
          </p:cNvPr>
          <p:cNvSpPr/>
          <p:nvPr/>
        </p:nvSpPr>
        <p:spPr>
          <a:xfrm>
            <a:off x="6048953" y="1996448"/>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rPr>
              <a:t>02</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30" name="矩形 29">
            <a:extLst>
              <a:ext uri="{FF2B5EF4-FFF2-40B4-BE49-F238E27FC236}">
                <a16:creationId xmlns:a16="http://schemas.microsoft.com/office/drawing/2014/main" id="{E67752FA-D1D9-B358-5D6D-2F621781CB0B}"/>
              </a:ext>
            </a:extLst>
          </p:cNvPr>
          <p:cNvSpPr/>
          <p:nvPr/>
        </p:nvSpPr>
        <p:spPr>
          <a:xfrm flipH="1">
            <a:off x="6753937" y="3264297"/>
            <a:ext cx="4234502" cy="697705"/>
          </a:xfrm>
          <a:prstGeom prst="rect">
            <a:avLst/>
          </a:prstGeom>
          <a:solidFill>
            <a:srgbClr val="2473B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31" name="矩形 30">
            <a:extLst>
              <a:ext uri="{FF2B5EF4-FFF2-40B4-BE49-F238E27FC236}">
                <a16:creationId xmlns:a16="http://schemas.microsoft.com/office/drawing/2014/main" id="{D51E6F91-772A-EDC7-6755-7DA28CB115FD}"/>
              </a:ext>
            </a:extLst>
          </p:cNvPr>
          <p:cNvSpPr/>
          <p:nvPr/>
        </p:nvSpPr>
        <p:spPr>
          <a:xfrm>
            <a:off x="6878197" y="3369557"/>
            <a:ext cx="4110241" cy="461665"/>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2400" b="1" dirty="0">
                <a:solidFill>
                  <a:srgbClr val="2473BA"/>
                </a:solidFill>
                <a:latin typeface="Arial" panose="020F0502020204030204"/>
                <a:ea typeface="微软雅黑"/>
                <a:cs typeface="+mn-ea"/>
                <a:sym typeface="+mn-lt"/>
              </a:rPr>
              <a:t>创新</a:t>
            </a:r>
            <a:r>
              <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sym typeface="+mn-lt"/>
              </a:rPr>
              <a:t>性</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32" name="矩形 31">
            <a:extLst>
              <a:ext uri="{FF2B5EF4-FFF2-40B4-BE49-F238E27FC236}">
                <a16:creationId xmlns:a16="http://schemas.microsoft.com/office/drawing/2014/main" id="{D8F8CB7F-BE09-0218-41F2-D498266BAD26}"/>
              </a:ext>
            </a:extLst>
          </p:cNvPr>
          <p:cNvSpPr/>
          <p:nvPr/>
        </p:nvSpPr>
        <p:spPr>
          <a:xfrm flipH="1">
            <a:off x="6730875" y="3264297"/>
            <a:ext cx="19980" cy="697705"/>
          </a:xfrm>
          <a:prstGeom prst="rect">
            <a:avLst/>
          </a:prstGeom>
          <a:solidFill>
            <a:srgbClr val="7D2F6D"/>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F0502020204030204"/>
              <a:ea typeface="微软雅黑"/>
              <a:cs typeface="+mn-cs"/>
            </a:endParaRPr>
          </a:p>
        </p:txBody>
      </p:sp>
      <p:sp>
        <p:nvSpPr>
          <p:cNvPr id="33" name="矩形 32">
            <a:extLst>
              <a:ext uri="{FF2B5EF4-FFF2-40B4-BE49-F238E27FC236}">
                <a16:creationId xmlns:a16="http://schemas.microsoft.com/office/drawing/2014/main" id="{67516A2B-1711-6BA3-710A-16923119C6F7}"/>
              </a:ext>
            </a:extLst>
          </p:cNvPr>
          <p:cNvSpPr/>
          <p:nvPr/>
        </p:nvSpPr>
        <p:spPr>
          <a:xfrm>
            <a:off x="6048952" y="3264297"/>
            <a:ext cx="611358" cy="697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srgbClr val="2473BA"/>
                </a:solidFill>
                <a:effectLst/>
                <a:uLnTx/>
                <a:uFillTx/>
                <a:latin typeface="Arial" panose="020F0502020204030204"/>
                <a:ea typeface="微软雅黑"/>
                <a:cs typeface="+mn-ea"/>
              </a:rPr>
              <a:t>04</a:t>
            </a:r>
            <a:endParaRPr kumimoji="0" lang="zh-CN" altLang="en-US" sz="2400" b="1" i="0" u="none" strike="noStrike" kern="1200" cap="none" spc="0" normalizeH="0" baseline="0" noProof="0" dirty="0">
              <a:ln>
                <a:noFill/>
              </a:ln>
              <a:solidFill>
                <a:srgbClr val="2473BA"/>
              </a:solidFill>
              <a:effectLst/>
              <a:uLnTx/>
              <a:uFillTx/>
              <a:latin typeface="Arial" panose="020F0502020204030204"/>
              <a:ea typeface="微软雅黑"/>
              <a:cs typeface="+mn-ea"/>
            </a:endParaRPr>
          </a:p>
        </p:txBody>
      </p:sp>
      <p:sp>
        <p:nvSpPr>
          <p:cNvPr id="40" name="矩形 39">
            <a:extLst>
              <a:ext uri="{FF2B5EF4-FFF2-40B4-BE49-F238E27FC236}">
                <a16:creationId xmlns:a16="http://schemas.microsoft.com/office/drawing/2014/main" id="{E967CAD7-E93B-486B-B0B6-A6E35555E554}"/>
              </a:ext>
            </a:extLst>
          </p:cNvPr>
          <p:cNvSpPr/>
          <p:nvPr userDrawn="1"/>
        </p:nvSpPr>
        <p:spPr>
          <a:xfrm flipH="1">
            <a:off x="3777318" y="6406104"/>
            <a:ext cx="7893049" cy="88900"/>
          </a:xfrm>
          <a:prstGeom prst="rect">
            <a:avLst/>
          </a:prstGeom>
          <a:gradFill>
            <a:gsLst>
              <a:gs pos="6195">
                <a:srgbClr val="2473BA">
                  <a:alpha val="0"/>
                </a:srgbClr>
              </a:gs>
              <a:gs pos="35000">
                <a:srgbClr val="2473BA">
                  <a:alpha val="32000"/>
                </a:srgbClr>
              </a:gs>
              <a:gs pos="100000">
                <a:schemeClr val="accent5">
                  <a:lumMod val="75000"/>
                  <a:alpha val="58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
        <p:nvSpPr>
          <p:cNvPr id="41" name="矩形 40">
            <a:extLst>
              <a:ext uri="{FF2B5EF4-FFF2-40B4-BE49-F238E27FC236}">
                <a16:creationId xmlns:a16="http://schemas.microsoft.com/office/drawing/2014/main" id="{0A9BF9AF-BDF2-40E7-A5BC-168EAA884030}"/>
              </a:ext>
            </a:extLst>
          </p:cNvPr>
          <p:cNvSpPr/>
          <p:nvPr userDrawn="1"/>
        </p:nvSpPr>
        <p:spPr>
          <a:xfrm>
            <a:off x="228600" y="1083814"/>
            <a:ext cx="11760200" cy="73336"/>
          </a:xfrm>
          <a:prstGeom prst="rect">
            <a:avLst/>
          </a:prstGeom>
          <a:gradFill>
            <a:gsLst>
              <a:gs pos="6195">
                <a:srgbClr val="2473BA">
                  <a:alpha val="0"/>
                </a:srgbClr>
              </a:gs>
              <a:gs pos="35000">
                <a:srgbClr val="2473BA">
                  <a:alpha val="38000"/>
                </a:srgbClr>
              </a:gs>
              <a:gs pos="100000">
                <a:schemeClr val="accent5">
                  <a:lumMod val="7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zh-CN" altLang="en-US"/>
          </a:p>
        </p:txBody>
      </p:sp>
    </p:spTree>
    <p:extLst>
      <p:ext uri="{BB962C8B-B14F-4D97-AF65-F5344CB8AC3E}">
        <p14:creationId xmlns:p14="http://schemas.microsoft.com/office/powerpoint/2010/main" val="122345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12_1">
            <a:extLst>
              <a:ext uri="{FF2B5EF4-FFF2-40B4-BE49-F238E27FC236}">
                <a16:creationId xmlns:a16="http://schemas.microsoft.com/office/drawing/2014/main" id="{9D8D44FA-38A3-2A34-5233-5F074D2A9C8C}"/>
              </a:ext>
            </a:extLst>
          </p:cNvPr>
          <p:cNvSpPr/>
          <p:nvPr/>
        </p:nvSpPr>
        <p:spPr>
          <a:xfrm>
            <a:off x="1979200" y="987127"/>
            <a:ext cx="10236728" cy="4483832"/>
          </a:xfrm>
          <a:prstGeom prst="roundRect">
            <a:avLst>
              <a:gd name="adj" fmla="val 0"/>
            </a:avLst>
          </a:prstGeom>
          <a:gradFill>
            <a:gsLst>
              <a:gs pos="100000">
                <a:schemeClr val="accent1">
                  <a:lumMod val="5000"/>
                  <a:lumOff val="95000"/>
                  <a:alpha val="0"/>
                </a:schemeClr>
              </a:gs>
              <a:gs pos="0">
                <a:schemeClr val="accent1">
                  <a:lumMod val="30000"/>
                  <a:lumOff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Verdana"/>
            </a:endParaRPr>
          </a:p>
        </p:txBody>
      </p:sp>
      <p:sp>
        <p:nvSpPr>
          <p:cNvPr id="9" name="文本框 8">
            <a:extLst>
              <a:ext uri="{FF2B5EF4-FFF2-40B4-BE49-F238E27FC236}">
                <a16:creationId xmlns:a16="http://schemas.microsoft.com/office/drawing/2014/main" id="{A69FDBCD-A9B2-BC1A-3363-713DE82CD967}"/>
              </a:ext>
            </a:extLst>
          </p:cNvPr>
          <p:cNvSpPr txBox="1"/>
          <p:nvPr/>
        </p:nvSpPr>
        <p:spPr>
          <a:xfrm>
            <a:off x="4304433" y="1841786"/>
            <a:ext cx="7085580" cy="3383362"/>
          </a:xfrm>
          <a:prstGeom prst="rect">
            <a:avLst/>
          </a:prstGeom>
          <a:noFill/>
        </p:spPr>
        <p:txBody>
          <a:bodyPr wrap="square" anchor="ctr">
            <a:spAutoFit/>
          </a:bodyPr>
          <a:lstStyle/>
          <a:p>
            <a:pPr marL="180000" indent="-180000" defTabSz="913765">
              <a:lnSpc>
                <a:spcPct val="150000"/>
              </a:lnSpc>
              <a:buFont typeface="Arial" panose="020B0604020202020204" pitchFamily="34" charset="0"/>
              <a:buChar char="•"/>
              <a:defRPr/>
            </a:pPr>
            <a:r>
              <a:rPr lang="en-US" altLang="zh-CN" sz="1200" dirty="0">
                <a:solidFill>
                  <a:srgbClr val="2473BA"/>
                </a:solidFill>
                <a:latin typeface="Arial" panose="020B0604020202020204" pitchFamily="34" charset="0"/>
                <a:ea typeface="微软雅黑" panose="020B0503020204020204" pitchFamily="34" charset="-122"/>
              </a:rPr>
              <a:t>MS</a:t>
            </a:r>
            <a:r>
              <a:rPr lang="zh-CN" altLang="en-US" sz="1200" dirty="0">
                <a:solidFill>
                  <a:srgbClr val="2473BA"/>
                </a:solidFill>
                <a:latin typeface="Arial" panose="020B0604020202020204" pitchFamily="34" charset="0"/>
                <a:ea typeface="微软雅黑" panose="020B0503020204020204" pitchFamily="34" charset="-122"/>
              </a:rPr>
              <a:t>异质性强，现有药物不能完全满足个体化治疗需求（全球已上市</a:t>
            </a:r>
            <a:r>
              <a:rPr lang="en-US" altLang="zh-CN" sz="1200" dirty="0">
                <a:solidFill>
                  <a:srgbClr val="2473BA"/>
                </a:solidFill>
                <a:latin typeface="Arial" panose="020B0604020202020204" pitchFamily="34" charset="0"/>
                <a:ea typeface="微软雅黑" panose="020B0503020204020204" pitchFamily="34" charset="-122"/>
              </a:rPr>
              <a:t>20</a:t>
            </a:r>
            <a:r>
              <a:rPr lang="zh-CN" altLang="en-US" sz="1200" dirty="0">
                <a:solidFill>
                  <a:srgbClr val="2473BA"/>
                </a:solidFill>
                <a:latin typeface="Arial" panose="020B0604020202020204" pitchFamily="34" charset="0"/>
                <a:ea typeface="微软雅黑" panose="020B0503020204020204" pitchFamily="34" charset="-122"/>
              </a:rPr>
              <a:t>余种疾病修正治疗药品） </a:t>
            </a:r>
            <a:endPar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180000" marR="0" lvl="0" indent="-18000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的治疗，应基于个体状况并考虑长期风险</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获益比：在有效控制疾病进展的前提下，选择安全性风险尽量低的药物</a:t>
            </a:r>
          </a:p>
          <a:p>
            <a:pPr marL="180000" marR="0" lvl="0" indent="-18000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大多需到医疗资源相对紧张的三甲医院就诊，临床有必要为患者提供一种无需特殊连续监测或基因检查即能起始治疗的治疗方案，节省医疗资源、方便医患</a:t>
            </a:r>
          </a:p>
          <a:p>
            <a:pPr marL="180000" marR="0" lvl="0" indent="-18000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中国</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年均自费医疗支出</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4.6</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万元</a:t>
            </a:r>
            <a:r>
              <a:rPr lang="en-US" altLang="zh-CN" sz="1200" baseline="30000" dirty="0">
                <a:solidFill>
                  <a:srgbClr val="2473BA"/>
                </a:solidFill>
                <a:latin typeface="Arial" panose="020B0604020202020204" pitchFamily="34" charset="0"/>
                <a:ea typeface="微软雅黑" panose="020B0503020204020204" pitchFamily="34" charset="-122"/>
              </a:rPr>
              <a:t>5</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占家庭支付能力</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40%</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以上），医保需要更具性价比且对医保基金影响可控的治疗方案</a:t>
            </a:r>
          </a:p>
          <a:p>
            <a:pPr marL="180000" marR="0" lvl="0" indent="-18000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不是遗传病， 患者需要既能控制疾病进展，也方便停药筹备家庭计划的治疗方案</a:t>
            </a:r>
          </a:p>
          <a:p>
            <a:pPr marL="180000" marR="0" lvl="0" indent="-18000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中国是肝脏疾病负担最重的国家，</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3</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亿人受肝病影响</a:t>
            </a:r>
            <a:r>
              <a:rPr kumimoji="0" lang="en-US" altLang="zh-CN" sz="12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6</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需考虑肝损</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的用药需求以及</a:t>
            </a:r>
            <a:r>
              <a:rPr lang="zh-CN" altLang="en-US" sz="1200" dirty="0">
                <a:solidFill>
                  <a:srgbClr val="2473BA"/>
                </a:solidFill>
                <a:latin typeface="Arial" panose="020B0604020202020204" pitchFamily="34" charset="0"/>
                <a:ea typeface="微软雅黑" panose="020B0503020204020204" pitchFamily="34" charset="-122"/>
              </a:rPr>
              <a:t>治疗</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药品本身的药物性肝损风险</a:t>
            </a:r>
            <a:endPar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180000" indent="-180000" defTabSz="913765">
              <a:lnSpc>
                <a:spcPct val="150000"/>
              </a:lnSpc>
              <a:buFont typeface="Arial" panose="020B0604020202020204" pitchFamily="34" charset="0"/>
              <a:buChar char="•"/>
              <a:defRPr/>
            </a:pP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对于想接种疫苗预防流感、肺炎等疾病的</a:t>
            </a:r>
            <a:r>
              <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需考虑既能控制疾病进展也不降低疫苗免疫应答的治疗方案</a:t>
            </a:r>
            <a:endParaRPr kumimoji="0" lang="en-US" altLang="zh-CN" sz="12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3" name="标题 12">
            <a:extLst>
              <a:ext uri="{FF2B5EF4-FFF2-40B4-BE49-F238E27FC236}">
                <a16:creationId xmlns:a16="http://schemas.microsoft.com/office/drawing/2014/main" id="{3A3F6660-DDAA-56B8-C5DF-3BA9FE298FE7}"/>
              </a:ext>
            </a:extLst>
          </p:cNvPr>
          <p:cNvSpPr>
            <a:spLocks noGrp="1"/>
          </p:cNvSpPr>
          <p:nvPr>
            <p:ph type="title"/>
          </p:nvPr>
        </p:nvSpPr>
        <p:spPr/>
        <p:txBody>
          <a:bodyPr>
            <a:normAutofit fontScale="90000"/>
          </a:bodyPr>
          <a:lstStyle/>
          <a:p>
            <a:r>
              <a:rPr lang="en-US" altLang="zh-CN" dirty="0"/>
              <a:t>01 </a:t>
            </a:r>
            <a:r>
              <a:rPr lang="zh-CN" altLang="en-US" dirty="0"/>
              <a:t>药品基本信息</a:t>
            </a:r>
          </a:p>
        </p:txBody>
      </p:sp>
      <p:sp>
        <p:nvSpPr>
          <p:cNvPr id="2" name="矩形: 单圆角 1">
            <a:extLst>
              <a:ext uri="{FF2B5EF4-FFF2-40B4-BE49-F238E27FC236}">
                <a16:creationId xmlns:a16="http://schemas.microsoft.com/office/drawing/2014/main" id="{F6FB6381-7BD6-4DFB-AE0A-688B73F83B7B}"/>
              </a:ext>
            </a:extLst>
          </p:cNvPr>
          <p:cNvSpPr/>
          <p:nvPr/>
        </p:nvSpPr>
        <p:spPr>
          <a:xfrm>
            <a:off x="633228" y="987127"/>
            <a:ext cx="3601270" cy="4467466"/>
          </a:xfrm>
          <a:prstGeom prst="round1Rect">
            <a:avLst>
              <a:gd name="adj" fmla="val 35005"/>
            </a:avLst>
          </a:prstGeom>
          <a:solidFill>
            <a:schemeClr val="bg1"/>
          </a:solidFill>
          <a:ln w="34925">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 name="组合 5">
            <a:extLst>
              <a:ext uri="{FF2B5EF4-FFF2-40B4-BE49-F238E27FC236}">
                <a16:creationId xmlns:a16="http://schemas.microsoft.com/office/drawing/2014/main" id="{F9C0217F-EDA3-2DEF-C0E8-B73F4E1EE91D}"/>
              </a:ext>
            </a:extLst>
          </p:cNvPr>
          <p:cNvGrpSpPr/>
          <p:nvPr/>
        </p:nvGrpSpPr>
        <p:grpSpPr>
          <a:xfrm>
            <a:off x="633228" y="1403406"/>
            <a:ext cx="3424782" cy="3890780"/>
            <a:chOff x="633228" y="1581727"/>
            <a:chExt cx="3424782" cy="3890780"/>
          </a:xfrm>
        </p:grpSpPr>
        <p:sp>
          <p:nvSpPr>
            <p:cNvPr id="10" name="文本框 9">
              <a:extLst>
                <a:ext uri="{FF2B5EF4-FFF2-40B4-BE49-F238E27FC236}">
                  <a16:creationId xmlns:a16="http://schemas.microsoft.com/office/drawing/2014/main" id="{024B091A-B2A5-4AC3-9E1A-8BD8665F145C}"/>
                </a:ext>
              </a:extLst>
            </p:cNvPr>
            <p:cNvSpPr txBox="1"/>
            <p:nvPr/>
          </p:nvSpPr>
          <p:spPr>
            <a:xfrm>
              <a:off x="633228" y="1592837"/>
              <a:ext cx="825867"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通用名</a:t>
              </a:r>
              <a:r>
                <a:rPr lang="en-US" altLang="zh-CN" sz="1000" b="1" dirty="0">
                  <a:solidFill>
                    <a:srgbClr val="2473BA"/>
                  </a:solidFill>
                  <a:latin typeface="微软雅黑" panose="020B0503020204020204" pitchFamily="34" charset="-122"/>
                  <a:ea typeface="微软雅黑"/>
                </a:rPr>
                <a:t>】</a:t>
              </a:r>
            </a:p>
          </p:txBody>
        </p:sp>
        <p:sp>
          <p:nvSpPr>
            <p:cNvPr id="16" name="文本框 15">
              <a:extLst>
                <a:ext uri="{FF2B5EF4-FFF2-40B4-BE49-F238E27FC236}">
                  <a16:creationId xmlns:a16="http://schemas.microsoft.com/office/drawing/2014/main" id="{D14770D4-69A7-437E-BAAC-A8CB0B64DB8A}"/>
                </a:ext>
              </a:extLst>
            </p:cNvPr>
            <p:cNvSpPr txBox="1"/>
            <p:nvPr/>
          </p:nvSpPr>
          <p:spPr>
            <a:xfrm>
              <a:off x="1281940" y="1581727"/>
              <a:ext cx="1724859" cy="246221"/>
            </a:xfrm>
            <a:prstGeom prst="rect">
              <a:avLst/>
            </a:prstGeom>
            <a:noFill/>
          </p:spPr>
          <p:txBody>
            <a:bodyPr wrap="square">
              <a:spAutoFit/>
            </a:bodyPr>
            <a:lstStyle/>
            <a:p>
              <a:r>
                <a:rPr kumimoji="0" lang="zh-CN" altLang="en-US" sz="1000" b="0" i="0" u="none" strike="noStrike" kern="1200" cap="none" spc="0" normalizeH="0" baseline="0" noProof="0" dirty="0">
                  <a:ln>
                    <a:noFill/>
                  </a:ln>
                  <a:solidFill>
                    <a:schemeClr val="tx1">
                      <a:lumMod val="85000"/>
                      <a:lumOff val="15000"/>
                    </a:schemeClr>
                  </a:solidFill>
                  <a:effectLst/>
                  <a:uLnTx/>
                  <a:uFillTx/>
                  <a:latin typeface="微软雅黑" panose="020B0503020204020204" pitchFamily="34" charset="-122"/>
                  <a:ea typeface="微软雅黑"/>
                  <a:cs typeface="+mn-cs"/>
                </a:rPr>
                <a:t>富马酸二甲酯</a:t>
              </a:r>
              <a:r>
                <a:rPr lang="zh-CN" altLang="en-US" sz="1000" dirty="0">
                  <a:solidFill>
                    <a:schemeClr val="tx1">
                      <a:lumMod val="85000"/>
                      <a:lumOff val="15000"/>
                    </a:schemeClr>
                  </a:solidFill>
                  <a:latin typeface="微软雅黑" panose="020B0503020204020204" pitchFamily="34" charset="-122"/>
                  <a:ea typeface="微软雅黑"/>
                </a:rPr>
                <a:t>肠溶胶囊</a:t>
              </a:r>
              <a:endParaRPr lang="zh-CN" altLang="en-US" sz="1000" dirty="0">
                <a:solidFill>
                  <a:schemeClr val="tx1">
                    <a:lumMod val="85000"/>
                    <a:lumOff val="15000"/>
                  </a:schemeClr>
                </a:solidFill>
              </a:endParaRPr>
            </a:p>
          </p:txBody>
        </p:sp>
        <p:sp>
          <p:nvSpPr>
            <p:cNvPr id="18" name="文本框 17">
              <a:extLst>
                <a:ext uri="{FF2B5EF4-FFF2-40B4-BE49-F238E27FC236}">
                  <a16:creationId xmlns:a16="http://schemas.microsoft.com/office/drawing/2014/main" id="{70E87C0D-D83B-4CC9-8E32-257DAA0B7CEE}"/>
                </a:ext>
              </a:extLst>
            </p:cNvPr>
            <p:cNvSpPr txBox="1"/>
            <p:nvPr/>
          </p:nvSpPr>
          <p:spPr>
            <a:xfrm>
              <a:off x="633228" y="1778399"/>
              <a:ext cx="954107"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注册规格</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19" name="文本框 18">
              <a:extLst>
                <a:ext uri="{FF2B5EF4-FFF2-40B4-BE49-F238E27FC236}">
                  <a16:creationId xmlns:a16="http://schemas.microsoft.com/office/drawing/2014/main" id="{136F565F-8D51-4BE9-A8E0-F5546300CD6E}"/>
                </a:ext>
              </a:extLst>
            </p:cNvPr>
            <p:cNvSpPr txBox="1"/>
            <p:nvPr/>
          </p:nvSpPr>
          <p:spPr>
            <a:xfrm>
              <a:off x="1391556" y="1768413"/>
              <a:ext cx="1868754" cy="261354"/>
            </a:xfrm>
            <a:prstGeom prst="rect">
              <a:avLst/>
            </a:prstGeom>
            <a:noFill/>
          </p:spPr>
          <p:txBody>
            <a:bodyPr wrap="square">
              <a:spAutoFit/>
            </a:bodyPr>
            <a:lstStyle/>
            <a:p>
              <a:pPr algn="just">
                <a:lnSpc>
                  <a:spcPct val="120000"/>
                </a:lnSpc>
                <a:tabLst>
                  <a:tab pos="2720340" algn="r"/>
                  <a:tab pos="5742305" algn="l"/>
                </a:tabLst>
                <a:defRPr/>
              </a:pPr>
              <a:r>
                <a:rPr lang="en-US" altLang="zh-CN" sz="1000" dirty="0">
                  <a:solidFill>
                    <a:schemeClr val="tx1">
                      <a:lumMod val="85000"/>
                      <a:lumOff val="15000"/>
                    </a:schemeClr>
                  </a:solidFill>
                  <a:latin typeface="微软雅黑" panose="020B0503020204020204" pitchFamily="34" charset="-122"/>
                  <a:ea typeface="微软雅黑"/>
                </a:rPr>
                <a:t>120mg/</a:t>
              </a:r>
              <a:r>
                <a:rPr lang="zh-CN" altLang="en-US" sz="1000" dirty="0">
                  <a:solidFill>
                    <a:schemeClr val="tx1">
                      <a:lumMod val="85000"/>
                      <a:lumOff val="15000"/>
                    </a:schemeClr>
                  </a:solidFill>
                  <a:latin typeface="微软雅黑" panose="020B0503020204020204" pitchFamily="34" charset="-122"/>
                  <a:ea typeface="微软雅黑"/>
                </a:rPr>
                <a:t>粒 </a:t>
              </a:r>
              <a:r>
                <a:rPr lang="en-US" altLang="zh-CN" sz="1000" dirty="0">
                  <a:solidFill>
                    <a:schemeClr val="tx1">
                      <a:lumMod val="85000"/>
                      <a:lumOff val="15000"/>
                    </a:schemeClr>
                  </a:solidFill>
                  <a:latin typeface="微软雅黑" panose="020B0503020204020204" pitchFamily="34" charset="-122"/>
                  <a:ea typeface="微软雅黑"/>
                </a:rPr>
                <a:t>; 240mg/</a:t>
              </a:r>
              <a:r>
                <a:rPr lang="zh-CN" altLang="en-US" sz="1000" dirty="0">
                  <a:solidFill>
                    <a:schemeClr val="tx1">
                      <a:lumMod val="85000"/>
                      <a:lumOff val="15000"/>
                    </a:schemeClr>
                  </a:solidFill>
                  <a:latin typeface="微软雅黑" panose="020B0503020204020204" pitchFamily="34" charset="-122"/>
                  <a:ea typeface="微软雅黑"/>
                </a:rPr>
                <a:t>粒</a:t>
              </a:r>
              <a:endParaRPr lang="en-US" altLang="zh-CN" sz="1000" dirty="0">
                <a:solidFill>
                  <a:schemeClr val="tx1">
                    <a:lumMod val="85000"/>
                    <a:lumOff val="15000"/>
                  </a:schemeClr>
                </a:solidFill>
                <a:latin typeface="微软雅黑" panose="020B0503020204020204" pitchFamily="34" charset="-122"/>
                <a:ea typeface="微软雅黑"/>
              </a:endParaRPr>
            </a:p>
          </p:txBody>
        </p:sp>
        <p:sp>
          <p:nvSpPr>
            <p:cNvPr id="33" name="文本框 32">
              <a:extLst>
                <a:ext uri="{FF2B5EF4-FFF2-40B4-BE49-F238E27FC236}">
                  <a16:creationId xmlns:a16="http://schemas.microsoft.com/office/drawing/2014/main" id="{6E5EEAAD-24F7-4DE9-AE14-2D330F5C578E}"/>
                </a:ext>
              </a:extLst>
            </p:cNvPr>
            <p:cNvSpPr txBox="1"/>
            <p:nvPr/>
          </p:nvSpPr>
          <p:spPr>
            <a:xfrm>
              <a:off x="633228" y="1970993"/>
              <a:ext cx="1785927" cy="246221"/>
            </a:xfrm>
            <a:prstGeom prst="rect">
              <a:avLst/>
            </a:prstGeom>
            <a:noFill/>
          </p:spPr>
          <p:txBody>
            <a:bodyPr wrap="squar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中国大陆首次上市时间</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34" name="文本框 33">
              <a:extLst>
                <a:ext uri="{FF2B5EF4-FFF2-40B4-BE49-F238E27FC236}">
                  <a16:creationId xmlns:a16="http://schemas.microsoft.com/office/drawing/2014/main" id="{7540A25D-2A6D-4F37-AF33-A6C7A0E5418C}"/>
                </a:ext>
              </a:extLst>
            </p:cNvPr>
            <p:cNvSpPr txBox="1"/>
            <p:nvPr/>
          </p:nvSpPr>
          <p:spPr>
            <a:xfrm>
              <a:off x="2176478" y="1973455"/>
              <a:ext cx="1095831" cy="246221"/>
            </a:xfrm>
            <a:prstGeom prst="rect">
              <a:avLst/>
            </a:prstGeom>
            <a:noFill/>
          </p:spPr>
          <p:txBody>
            <a:bodyPr wrap="square">
              <a:spAutoFit/>
            </a:bodyPr>
            <a:lstStyle/>
            <a:p>
              <a:r>
                <a:rPr lang="en-US" altLang="zh-CN" sz="1000" dirty="0">
                  <a:solidFill>
                    <a:prstClr val="black"/>
                  </a:solidFill>
                  <a:latin typeface="微软雅黑" panose="020B0503020204020204" pitchFamily="34" charset="-122"/>
                  <a:ea typeface="微软雅黑"/>
                </a:rPr>
                <a:t>2021</a:t>
              </a:r>
              <a:r>
                <a:rPr lang="zh-CN" altLang="en-US" sz="1000" dirty="0">
                  <a:solidFill>
                    <a:prstClr val="black"/>
                  </a:solidFill>
                  <a:latin typeface="微软雅黑" panose="020B0503020204020204" pitchFamily="34" charset="-122"/>
                  <a:ea typeface="微软雅黑"/>
                </a:rPr>
                <a:t>年</a:t>
              </a:r>
              <a:endParaRPr lang="zh-CN" altLang="en-US" sz="1000" dirty="0">
                <a:solidFill>
                  <a:schemeClr val="tx1">
                    <a:lumMod val="85000"/>
                    <a:lumOff val="15000"/>
                  </a:schemeClr>
                </a:solidFill>
              </a:endParaRPr>
            </a:p>
          </p:txBody>
        </p:sp>
        <p:sp>
          <p:nvSpPr>
            <p:cNvPr id="36" name="文本框 35">
              <a:extLst>
                <a:ext uri="{FF2B5EF4-FFF2-40B4-BE49-F238E27FC236}">
                  <a16:creationId xmlns:a16="http://schemas.microsoft.com/office/drawing/2014/main" id="{9D913F5F-EB93-4A41-907B-635329324790}"/>
                </a:ext>
              </a:extLst>
            </p:cNvPr>
            <p:cNvSpPr txBox="1"/>
            <p:nvPr/>
          </p:nvSpPr>
          <p:spPr>
            <a:xfrm>
              <a:off x="633228" y="2179647"/>
              <a:ext cx="2621230"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目前中国大陆同通用名药品的上市情况</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37" name="文本框 36">
              <a:extLst>
                <a:ext uri="{FF2B5EF4-FFF2-40B4-BE49-F238E27FC236}">
                  <a16:creationId xmlns:a16="http://schemas.microsoft.com/office/drawing/2014/main" id="{08700A32-E127-49A8-9FBD-A2A78EBBFC32}"/>
                </a:ext>
              </a:extLst>
            </p:cNvPr>
            <p:cNvSpPr txBox="1"/>
            <p:nvPr/>
          </p:nvSpPr>
          <p:spPr>
            <a:xfrm>
              <a:off x="3070547" y="2169661"/>
              <a:ext cx="442052" cy="261354"/>
            </a:xfrm>
            <a:prstGeom prst="rect">
              <a:avLst/>
            </a:prstGeom>
            <a:noFill/>
          </p:spPr>
          <p:txBody>
            <a:bodyPr wrap="square">
              <a:spAutoFit/>
            </a:bodyPr>
            <a:lstStyle/>
            <a:p>
              <a:pPr algn="just">
                <a:lnSpc>
                  <a:spcPct val="120000"/>
                </a:lnSpc>
                <a:tabLst>
                  <a:tab pos="2720340" algn="r"/>
                  <a:tab pos="5742305" algn="l"/>
                </a:tabLst>
                <a:defRPr/>
              </a:pPr>
              <a:r>
                <a:rPr lang="en-US" altLang="zh-CN" sz="1000" dirty="0">
                  <a:solidFill>
                    <a:schemeClr val="tx1">
                      <a:lumMod val="85000"/>
                      <a:lumOff val="15000"/>
                    </a:schemeClr>
                  </a:solidFill>
                  <a:latin typeface="微软雅黑" panose="020B0503020204020204" pitchFamily="34" charset="-122"/>
                  <a:ea typeface="微软雅黑"/>
                </a:rPr>
                <a:t>0</a:t>
              </a:r>
              <a:r>
                <a:rPr lang="zh-CN" altLang="en-US" sz="1000" dirty="0">
                  <a:solidFill>
                    <a:schemeClr val="tx1">
                      <a:lumMod val="85000"/>
                      <a:lumOff val="15000"/>
                    </a:schemeClr>
                  </a:solidFill>
                  <a:latin typeface="微软雅黑" panose="020B0503020204020204" pitchFamily="34" charset="-122"/>
                  <a:ea typeface="微软雅黑"/>
                </a:rPr>
                <a:t>家</a:t>
              </a:r>
              <a:endParaRPr lang="en-US" altLang="zh-CN" sz="1000" dirty="0">
                <a:solidFill>
                  <a:schemeClr val="tx1">
                    <a:lumMod val="85000"/>
                    <a:lumOff val="15000"/>
                  </a:schemeClr>
                </a:solidFill>
                <a:latin typeface="微软雅黑" panose="020B0503020204020204" pitchFamily="34" charset="-122"/>
                <a:ea typeface="微软雅黑"/>
              </a:endParaRPr>
            </a:p>
          </p:txBody>
        </p:sp>
        <p:sp>
          <p:nvSpPr>
            <p:cNvPr id="39" name="文本框 38">
              <a:extLst>
                <a:ext uri="{FF2B5EF4-FFF2-40B4-BE49-F238E27FC236}">
                  <a16:creationId xmlns:a16="http://schemas.microsoft.com/office/drawing/2014/main" id="{AE087058-6426-47FF-A624-5170E3ACD53A}"/>
                </a:ext>
              </a:extLst>
            </p:cNvPr>
            <p:cNvSpPr txBox="1"/>
            <p:nvPr/>
          </p:nvSpPr>
          <p:spPr>
            <a:xfrm>
              <a:off x="633228" y="2375438"/>
              <a:ext cx="2425664"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全球首个上市国家</a:t>
              </a:r>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地区及上市时间</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40" name="文本框 39">
              <a:extLst>
                <a:ext uri="{FF2B5EF4-FFF2-40B4-BE49-F238E27FC236}">
                  <a16:creationId xmlns:a16="http://schemas.microsoft.com/office/drawing/2014/main" id="{69A24D0B-6326-4B13-AA58-5B182D7904BC}"/>
                </a:ext>
              </a:extLst>
            </p:cNvPr>
            <p:cNvSpPr txBox="1"/>
            <p:nvPr/>
          </p:nvSpPr>
          <p:spPr>
            <a:xfrm>
              <a:off x="2881202" y="2357914"/>
              <a:ext cx="1176808" cy="261354"/>
            </a:xfrm>
            <a:prstGeom prst="rect">
              <a:avLst/>
            </a:prstGeom>
            <a:noFill/>
          </p:spPr>
          <p:txBody>
            <a:bodyPr wrap="square">
              <a:spAutoFit/>
            </a:bodyPr>
            <a:lstStyle/>
            <a:p>
              <a:pPr algn="just">
                <a:lnSpc>
                  <a:spcPct val="120000"/>
                </a:lnSpc>
                <a:tabLst>
                  <a:tab pos="2720340" algn="r"/>
                  <a:tab pos="5742305" algn="l"/>
                </a:tabLst>
                <a:defRPr/>
              </a:pPr>
              <a:r>
                <a:rPr lang="en-US" altLang="zh-CN" sz="1000" dirty="0">
                  <a:solidFill>
                    <a:prstClr val="black"/>
                  </a:solidFill>
                  <a:latin typeface="微软雅黑" panose="020B0503020204020204" pitchFamily="34" charset="-122"/>
                  <a:ea typeface="微软雅黑"/>
                </a:rPr>
                <a:t>2013</a:t>
              </a:r>
              <a:r>
                <a:rPr lang="zh-CN" altLang="en-US" sz="1000" dirty="0">
                  <a:solidFill>
                    <a:prstClr val="black"/>
                  </a:solidFill>
                  <a:latin typeface="微软雅黑" panose="020B0503020204020204" pitchFamily="34" charset="-122"/>
                  <a:ea typeface="微软雅黑"/>
                </a:rPr>
                <a:t>年 美国</a:t>
              </a:r>
              <a:endParaRPr lang="en-US" altLang="zh-CN" sz="1000" dirty="0">
                <a:solidFill>
                  <a:prstClr val="black"/>
                </a:solidFill>
                <a:latin typeface="微软雅黑" panose="020B0503020204020204" pitchFamily="34" charset="-122"/>
                <a:ea typeface="微软雅黑"/>
              </a:endParaRPr>
            </a:p>
          </p:txBody>
        </p:sp>
        <p:sp>
          <p:nvSpPr>
            <p:cNvPr id="41" name="文本框 40">
              <a:extLst>
                <a:ext uri="{FF2B5EF4-FFF2-40B4-BE49-F238E27FC236}">
                  <a16:creationId xmlns:a16="http://schemas.microsoft.com/office/drawing/2014/main" id="{4A23EB5C-835B-488F-BFBC-07C1C99983E6}"/>
                </a:ext>
              </a:extLst>
            </p:cNvPr>
            <p:cNvSpPr txBox="1"/>
            <p:nvPr/>
          </p:nvSpPr>
          <p:spPr>
            <a:xfrm>
              <a:off x="633228" y="2569308"/>
              <a:ext cx="1353256"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是否为</a:t>
              </a:r>
              <a:r>
                <a:rPr lang="en-US" altLang="zh-CN" sz="1000" b="1" dirty="0">
                  <a:solidFill>
                    <a:srgbClr val="2473BA"/>
                  </a:solidFill>
                  <a:latin typeface="微软雅黑" panose="020B0503020204020204" pitchFamily="34" charset="-122"/>
                  <a:ea typeface="微软雅黑"/>
                </a:rPr>
                <a:t>OTC</a:t>
              </a:r>
              <a:r>
                <a:rPr lang="zh-CN" altLang="en-US" sz="1000" b="1" dirty="0">
                  <a:solidFill>
                    <a:srgbClr val="2473BA"/>
                  </a:solidFill>
                  <a:latin typeface="微软雅黑" panose="020B0503020204020204" pitchFamily="34" charset="-122"/>
                  <a:ea typeface="微软雅黑"/>
                </a:rPr>
                <a:t>药品</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42" name="文本框 41">
              <a:extLst>
                <a:ext uri="{FF2B5EF4-FFF2-40B4-BE49-F238E27FC236}">
                  <a16:creationId xmlns:a16="http://schemas.microsoft.com/office/drawing/2014/main" id="{00A89FA7-534E-4728-BCA1-9B004AB83E13}"/>
                </a:ext>
              </a:extLst>
            </p:cNvPr>
            <p:cNvSpPr txBox="1"/>
            <p:nvPr/>
          </p:nvSpPr>
          <p:spPr>
            <a:xfrm>
              <a:off x="1817785" y="2551784"/>
              <a:ext cx="1176808" cy="261354"/>
            </a:xfrm>
            <a:prstGeom prst="rect">
              <a:avLst/>
            </a:prstGeom>
            <a:noFill/>
          </p:spPr>
          <p:txBody>
            <a:bodyPr wrap="square">
              <a:spAutoFit/>
            </a:bodyPr>
            <a:lstStyle/>
            <a:p>
              <a:pPr algn="just">
                <a:lnSpc>
                  <a:spcPct val="120000"/>
                </a:lnSpc>
                <a:tabLst>
                  <a:tab pos="2720340" algn="r"/>
                  <a:tab pos="5742305" algn="l"/>
                </a:tabLst>
                <a:defRPr/>
              </a:pPr>
              <a:r>
                <a:rPr lang="zh-CN" altLang="en-US" sz="1000" dirty="0">
                  <a:solidFill>
                    <a:prstClr val="black"/>
                  </a:solidFill>
                  <a:latin typeface="微软雅黑" panose="020B0503020204020204" pitchFamily="34" charset="-122"/>
                  <a:ea typeface="微软雅黑"/>
                </a:rPr>
                <a:t>否</a:t>
              </a:r>
              <a:endParaRPr lang="en-US" altLang="zh-CN" sz="1000" dirty="0">
                <a:solidFill>
                  <a:prstClr val="black"/>
                </a:solidFill>
                <a:latin typeface="微软雅黑" panose="020B0503020204020204" pitchFamily="34" charset="-122"/>
                <a:ea typeface="微软雅黑"/>
              </a:endParaRPr>
            </a:p>
          </p:txBody>
        </p:sp>
        <p:sp>
          <p:nvSpPr>
            <p:cNvPr id="43" name="文本框 42">
              <a:extLst>
                <a:ext uri="{FF2B5EF4-FFF2-40B4-BE49-F238E27FC236}">
                  <a16:creationId xmlns:a16="http://schemas.microsoft.com/office/drawing/2014/main" id="{296DBF7F-92D6-4E92-A68E-B84C41179FEB}"/>
                </a:ext>
              </a:extLst>
            </p:cNvPr>
            <p:cNvSpPr txBox="1"/>
            <p:nvPr/>
          </p:nvSpPr>
          <p:spPr>
            <a:xfrm>
              <a:off x="633228" y="2759426"/>
              <a:ext cx="825867"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lang="zh-CN" altLang="en-US" sz="1000" b="1" dirty="0">
                  <a:solidFill>
                    <a:srgbClr val="2473BA"/>
                  </a:solidFill>
                  <a:latin typeface="微软雅黑" panose="020B0503020204020204" pitchFamily="34" charset="-122"/>
                  <a:ea typeface="微软雅黑"/>
                </a:rPr>
                <a:t>适应症</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44" name="文本框 43">
              <a:extLst>
                <a:ext uri="{FF2B5EF4-FFF2-40B4-BE49-F238E27FC236}">
                  <a16:creationId xmlns:a16="http://schemas.microsoft.com/office/drawing/2014/main" id="{D5A0141E-C52F-44E0-A73E-AB4120E85382}"/>
                </a:ext>
              </a:extLst>
            </p:cNvPr>
            <p:cNvSpPr txBox="1"/>
            <p:nvPr/>
          </p:nvSpPr>
          <p:spPr>
            <a:xfrm>
              <a:off x="690145" y="2904461"/>
              <a:ext cx="3265800" cy="400110"/>
            </a:xfrm>
            <a:prstGeom prst="rect">
              <a:avLst/>
            </a:prstGeom>
            <a:noFill/>
          </p:spPr>
          <p:txBody>
            <a:bodyPr wrap="square">
              <a:spAutoFit/>
            </a:bodyPr>
            <a:lstStyle/>
            <a:p>
              <a:pPr marL="0" marR="0" lvl="0" indent="0" algn="just" defTabSz="914400" rtl="0" eaLnBrk="1" fontAlgn="auto" latinLnBrk="0" hangingPunct="1">
                <a:spcBef>
                  <a:spcPts val="0"/>
                </a:spcBef>
                <a:spcAft>
                  <a:spcPts val="0"/>
                </a:spcAft>
                <a:buClrTx/>
                <a:buSzTx/>
                <a:buFontTx/>
                <a:buNone/>
                <a:tabLst>
                  <a:tab pos="2720340" algn="r"/>
                  <a:tab pos="5742305" algn="l"/>
                </a:tabLst>
                <a:defRPr/>
              </a:pPr>
              <a:r>
                <a:rPr kumimoji="0" lang="zh-CN" altLang="en-US" sz="1000" b="0" i="0" u="none" strike="noStrike" kern="1200" cap="none" spc="0" normalizeH="0" baseline="0" noProof="0" dirty="0">
                  <a:ln>
                    <a:noFill/>
                  </a:ln>
                  <a:solidFill>
                    <a:prstClr val="black"/>
                  </a:solidFill>
                  <a:effectLst/>
                  <a:uLnTx/>
                  <a:uFillTx/>
                  <a:latin typeface="微软雅黑" panose="020B0503020204020204" pitchFamily="34" charset="-122"/>
                  <a:ea typeface="微软雅黑"/>
                  <a:cs typeface="+mn-cs"/>
                </a:rPr>
                <a:t>本品用于复发型多发性硬化成年患者的治疗：包括临床孤立综合征、复发缓解型、活动性继发进展型</a:t>
              </a:r>
              <a:endPar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a:cs typeface="+mn-cs"/>
              </a:endParaRPr>
            </a:p>
          </p:txBody>
        </p:sp>
        <p:sp>
          <p:nvSpPr>
            <p:cNvPr id="45" name="文本框 44">
              <a:extLst>
                <a:ext uri="{FF2B5EF4-FFF2-40B4-BE49-F238E27FC236}">
                  <a16:creationId xmlns:a16="http://schemas.microsoft.com/office/drawing/2014/main" id="{B15313E6-3EFF-40C1-8231-42FD363FA83A}"/>
                </a:ext>
              </a:extLst>
            </p:cNvPr>
            <p:cNvSpPr txBox="1"/>
            <p:nvPr/>
          </p:nvSpPr>
          <p:spPr>
            <a:xfrm>
              <a:off x="633228" y="3276857"/>
              <a:ext cx="954107"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kumimoji="0" lang="zh-CN" altLang="zh-CN" sz="1000" b="1" i="0" u="none" strike="noStrike" kern="1200" cap="none" spc="0" normalizeH="0" baseline="0" noProof="0" dirty="0">
                  <a:ln>
                    <a:noFill/>
                  </a:ln>
                  <a:solidFill>
                    <a:srgbClr val="2473BA"/>
                  </a:solidFill>
                  <a:effectLst/>
                  <a:uLnTx/>
                  <a:uFillTx/>
                  <a:latin typeface="微软雅黑" panose="020B0503020204020204" pitchFamily="34" charset="-122"/>
                  <a:ea typeface="微软雅黑"/>
                  <a:cs typeface="+mn-cs"/>
                </a:rPr>
                <a:t>用法用量</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46" name="文本框 45">
              <a:extLst>
                <a:ext uri="{FF2B5EF4-FFF2-40B4-BE49-F238E27FC236}">
                  <a16:creationId xmlns:a16="http://schemas.microsoft.com/office/drawing/2014/main" id="{CB4A1714-BBDC-4664-9597-D84D7A87D53A}"/>
                </a:ext>
              </a:extLst>
            </p:cNvPr>
            <p:cNvSpPr txBox="1"/>
            <p:nvPr/>
          </p:nvSpPr>
          <p:spPr>
            <a:xfrm>
              <a:off x="690145" y="3434592"/>
              <a:ext cx="3265800" cy="400110"/>
            </a:xfrm>
            <a:prstGeom prst="rect">
              <a:avLst/>
            </a:prstGeom>
            <a:noFill/>
          </p:spPr>
          <p:txBody>
            <a:bodyPr wrap="square">
              <a:spAutoFit/>
            </a:bodyPr>
            <a:lstStyle/>
            <a:p>
              <a:pPr marL="0" marR="0" lvl="0" indent="0" algn="just" defTabSz="914400" rtl="0" eaLnBrk="1" fontAlgn="auto" latinLnBrk="0" hangingPunct="1">
                <a:spcBef>
                  <a:spcPts val="0"/>
                </a:spcBef>
                <a:spcAft>
                  <a:spcPts val="0"/>
                </a:spcAft>
                <a:buClrTx/>
                <a:buSzTx/>
                <a:buFontTx/>
                <a:buNone/>
                <a:tabLst>
                  <a:tab pos="2720340" algn="r"/>
                  <a:tab pos="5742305" algn="l"/>
                </a:tabLst>
                <a:defRPr/>
              </a:pPr>
              <a:r>
                <a:rPr lang="zh-CN" altLang="en-US" sz="1000" dirty="0">
                  <a:solidFill>
                    <a:prstClr val="black"/>
                  </a:solidFill>
                  <a:latin typeface="微软雅黑" panose="020B0503020204020204" pitchFamily="34" charset="-122"/>
                  <a:ea typeface="微软雅黑"/>
                </a:rPr>
                <a:t>起始剂量为 </a:t>
              </a:r>
              <a:r>
                <a:rPr lang="en-US" altLang="zh-CN" sz="1000" dirty="0">
                  <a:solidFill>
                    <a:prstClr val="black"/>
                  </a:solidFill>
                  <a:latin typeface="微软雅黑" panose="020B0503020204020204" pitchFamily="34" charset="-122"/>
                  <a:ea typeface="微软雅黑"/>
                </a:rPr>
                <a:t>120</a:t>
              </a:r>
              <a:r>
                <a:rPr lang="zh-CN" altLang="en-US" sz="1000" dirty="0">
                  <a:solidFill>
                    <a:prstClr val="black"/>
                  </a:solidFill>
                  <a:latin typeface="微软雅黑" panose="020B0503020204020204" pitchFamily="34" charset="-122"/>
                  <a:ea typeface="微软雅黑"/>
                </a:rPr>
                <a:t> </a:t>
              </a:r>
              <a:r>
                <a:rPr lang="en-US" altLang="zh-CN" sz="1000" dirty="0">
                  <a:solidFill>
                    <a:prstClr val="black"/>
                  </a:solidFill>
                  <a:latin typeface="微软雅黑" panose="020B0503020204020204" pitchFamily="34" charset="-122"/>
                  <a:ea typeface="微软雅黑"/>
                </a:rPr>
                <a:t>mg</a:t>
              </a:r>
              <a:r>
                <a:rPr lang="zh-CN" altLang="en-US" sz="1000" dirty="0">
                  <a:solidFill>
                    <a:prstClr val="black"/>
                  </a:solidFill>
                  <a:latin typeface="微软雅黑" panose="020B0503020204020204" pitchFamily="34" charset="-122"/>
                  <a:ea typeface="微软雅黑"/>
                </a:rPr>
                <a:t> 每日两次。</a:t>
              </a:r>
              <a:r>
                <a:rPr lang="en-US" altLang="zh-CN" sz="1000" dirty="0">
                  <a:solidFill>
                    <a:prstClr val="black"/>
                  </a:solidFill>
                  <a:latin typeface="微软雅黑" panose="020B0503020204020204" pitchFamily="34" charset="-122"/>
                  <a:ea typeface="微软雅黑"/>
                </a:rPr>
                <a:t>7</a:t>
              </a:r>
              <a:r>
                <a:rPr lang="zh-CN" altLang="en-US" sz="1000" dirty="0">
                  <a:solidFill>
                    <a:prstClr val="black"/>
                  </a:solidFill>
                  <a:latin typeface="微软雅黑" panose="020B0503020204020204" pitchFamily="34" charset="-122"/>
                  <a:ea typeface="微软雅黑"/>
                </a:rPr>
                <a:t> 天后，剂量应增加至维持剂量 </a:t>
              </a:r>
              <a:r>
                <a:rPr lang="en-US" altLang="zh-CN" sz="1000" dirty="0">
                  <a:solidFill>
                    <a:prstClr val="black"/>
                  </a:solidFill>
                  <a:latin typeface="微软雅黑" panose="020B0503020204020204" pitchFamily="34" charset="-122"/>
                  <a:ea typeface="微软雅黑"/>
                </a:rPr>
                <a:t>240</a:t>
              </a:r>
              <a:r>
                <a:rPr lang="zh-CN" altLang="en-US" sz="1000" dirty="0">
                  <a:solidFill>
                    <a:prstClr val="black"/>
                  </a:solidFill>
                  <a:latin typeface="微软雅黑" panose="020B0503020204020204" pitchFamily="34" charset="-122"/>
                  <a:ea typeface="微软雅黑"/>
                </a:rPr>
                <a:t> </a:t>
              </a:r>
              <a:r>
                <a:rPr lang="en-US" altLang="zh-CN" sz="1000" dirty="0">
                  <a:solidFill>
                    <a:prstClr val="black"/>
                  </a:solidFill>
                  <a:latin typeface="微软雅黑" panose="020B0503020204020204" pitchFamily="34" charset="-122"/>
                  <a:ea typeface="微软雅黑"/>
                </a:rPr>
                <a:t>mg</a:t>
              </a:r>
              <a:r>
                <a:rPr lang="zh-CN" altLang="en-US" sz="1000" dirty="0">
                  <a:solidFill>
                    <a:prstClr val="black"/>
                  </a:solidFill>
                  <a:latin typeface="微软雅黑" panose="020B0503020204020204" pitchFamily="34" charset="-122"/>
                  <a:ea typeface="微软雅黑"/>
                </a:rPr>
                <a:t> 每日两次</a:t>
              </a:r>
              <a:endParaRPr lang="en-US" altLang="zh-CN" sz="1000" dirty="0">
                <a:solidFill>
                  <a:prstClr val="black"/>
                </a:solidFill>
                <a:latin typeface="微软雅黑" panose="020B0503020204020204" pitchFamily="34" charset="-122"/>
                <a:ea typeface="微软雅黑"/>
              </a:endParaRPr>
            </a:p>
          </p:txBody>
        </p:sp>
        <p:sp>
          <p:nvSpPr>
            <p:cNvPr id="47" name="文本框 46">
              <a:extLst>
                <a:ext uri="{FF2B5EF4-FFF2-40B4-BE49-F238E27FC236}">
                  <a16:creationId xmlns:a16="http://schemas.microsoft.com/office/drawing/2014/main" id="{D1E09F90-A801-4319-ADFB-4FD7E8C6F5BA}"/>
                </a:ext>
              </a:extLst>
            </p:cNvPr>
            <p:cNvSpPr txBox="1"/>
            <p:nvPr/>
          </p:nvSpPr>
          <p:spPr>
            <a:xfrm>
              <a:off x="633228" y="3795866"/>
              <a:ext cx="1210588"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kumimoji="0" lang="zh-CN" altLang="en-US" sz="1000" b="1" i="0" u="none" strike="noStrike" kern="1200" cap="none" spc="0" normalizeH="0" baseline="0" noProof="0" dirty="0">
                  <a:ln>
                    <a:noFill/>
                  </a:ln>
                  <a:solidFill>
                    <a:srgbClr val="2473BA"/>
                  </a:solidFill>
                  <a:effectLst/>
                  <a:uLnTx/>
                  <a:uFillTx/>
                  <a:latin typeface="微软雅黑" panose="020B0503020204020204" pitchFamily="34" charset="-122"/>
                  <a:ea typeface="微软雅黑"/>
                  <a:cs typeface="+mn-cs"/>
                </a:rPr>
                <a:t>疾病基本情况</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48" name="文本框 47">
              <a:extLst>
                <a:ext uri="{FF2B5EF4-FFF2-40B4-BE49-F238E27FC236}">
                  <a16:creationId xmlns:a16="http://schemas.microsoft.com/office/drawing/2014/main" id="{124FBED6-54A4-4936-8BB2-CB4FF1CC426F}"/>
                </a:ext>
              </a:extLst>
            </p:cNvPr>
            <p:cNvSpPr txBox="1"/>
            <p:nvPr/>
          </p:nvSpPr>
          <p:spPr>
            <a:xfrm>
              <a:off x="690145" y="3940901"/>
              <a:ext cx="3265800" cy="553998"/>
            </a:xfrm>
            <a:prstGeom prst="rect">
              <a:avLst/>
            </a:prstGeom>
            <a:noFill/>
          </p:spPr>
          <p:txBody>
            <a:bodyPr wrap="square">
              <a:spAutoFit/>
            </a:bodyPr>
            <a:lstStyle/>
            <a:p>
              <a:pPr algn="just">
                <a:tabLst>
                  <a:tab pos="2720340" algn="r"/>
                  <a:tab pos="5742305" algn="l"/>
                </a:tabLst>
                <a:defRPr/>
              </a:pPr>
              <a:r>
                <a:rPr lang="zh-CN" altLang="en-US" sz="1000" dirty="0">
                  <a:latin typeface="Noto Serif CJK JP"/>
                  <a:cs typeface="Noto Serif CJK JP"/>
                </a:rPr>
                <a:t>多发性硬化</a:t>
              </a:r>
              <a:r>
                <a:rPr lang="en-US" altLang="zh-CN" sz="1000" dirty="0">
                  <a:latin typeface="Noto Serif CJK JP"/>
                  <a:cs typeface="Noto Serif CJK JP"/>
                </a:rPr>
                <a:t>(MS)</a:t>
              </a:r>
              <a:r>
                <a:rPr lang="zh-CN" altLang="en-US" sz="1000" dirty="0">
                  <a:latin typeface="Noto Serif CJK JP"/>
                  <a:cs typeface="Noto Serif CJK JP"/>
                </a:rPr>
                <a:t>是一种严重、终身、进行性、致残性的中枢神经系统疾病；</a:t>
              </a:r>
              <a:r>
                <a:rPr lang="zh-CN" altLang="en-US" sz="1000" dirty="0">
                  <a:solidFill>
                    <a:srgbClr val="C00000"/>
                  </a:solidFill>
                  <a:latin typeface="Noto Serif CJK JP"/>
                  <a:cs typeface="Noto Serif CJK JP"/>
                </a:rPr>
                <a:t>严重者可导致瘫痪、失明、呼吸衰竭而危及生命</a:t>
              </a:r>
              <a:r>
                <a:rPr lang="en-US" altLang="zh-CN" sz="1000" baseline="30000" dirty="0">
                  <a:latin typeface="Noto Serif CJK JP"/>
                  <a:cs typeface="Noto Serif CJK JP"/>
                </a:rPr>
                <a:t>1,2</a:t>
              </a:r>
              <a:endParaRPr lang="zh-CN" altLang="en-US" sz="1000" b="1" baseline="30000" dirty="0">
                <a:solidFill>
                  <a:srgbClr val="C00000"/>
                </a:solidFill>
                <a:latin typeface="Noto Serif CJK JP"/>
                <a:cs typeface="Noto Serif CJK JP"/>
              </a:endParaRPr>
            </a:p>
          </p:txBody>
        </p:sp>
        <p:sp>
          <p:nvSpPr>
            <p:cNvPr id="49" name="文本框 48">
              <a:extLst>
                <a:ext uri="{FF2B5EF4-FFF2-40B4-BE49-F238E27FC236}">
                  <a16:creationId xmlns:a16="http://schemas.microsoft.com/office/drawing/2014/main" id="{C8249395-92DF-4FC4-A2D0-3825CE17AD59}"/>
                </a:ext>
              </a:extLst>
            </p:cNvPr>
            <p:cNvSpPr txBox="1"/>
            <p:nvPr/>
          </p:nvSpPr>
          <p:spPr>
            <a:xfrm>
              <a:off x="633228" y="4423552"/>
              <a:ext cx="1210588"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kumimoji="0" lang="zh-CN" altLang="en-US" sz="1000" b="1" i="0" u="none" strike="noStrike" kern="1200" cap="none" spc="0" normalizeH="0" baseline="0" noProof="0" dirty="0">
                  <a:ln>
                    <a:noFill/>
                  </a:ln>
                  <a:solidFill>
                    <a:srgbClr val="2473BA"/>
                  </a:solidFill>
                  <a:effectLst/>
                  <a:uLnTx/>
                  <a:uFillTx/>
                  <a:latin typeface="微软雅黑" panose="020B0503020204020204" pitchFamily="34" charset="-122"/>
                  <a:ea typeface="微软雅黑"/>
                  <a:cs typeface="+mn-cs"/>
                </a:rPr>
                <a:t>患者人群信息</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50" name="文本框 49">
              <a:extLst>
                <a:ext uri="{FF2B5EF4-FFF2-40B4-BE49-F238E27FC236}">
                  <a16:creationId xmlns:a16="http://schemas.microsoft.com/office/drawing/2014/main" id="{088A9A7C-E2D6-4CC8-8817-A29A64CB0211}"/>
                </a:ext>
              </a:extLst>
            </p:cNvPr>
            <p:cNvSpPr txBox="1"/>
            <p:nvPr/>
          </p:nvSpPr>
          <p:spPr>
            <a:xfrm>
              <a:off x="690145" y="4671195"/>
              <a:ext cx="3265800" cy="553998"/>
            </a:xfrm>
            <a:prstGeom prst="rect">
              <a:avLst/>
            </a:prstGeom>
            <a:noFill/>
          </p:spPr>
          <p:txBody>
            <a:bodyPr wrap="square">
              <a:spAutoFit/>
            </a:bodyPr>
            <a:lstStyle/>
            <a:p>
              <a:pPr algn="just">
                <a:tabLst>
                  <a:tab pos="2720340" algn="r"/>
                  <a:tab pos="5742305" algn="l"/>
                </a:tabLst>
                <a:defRPr/>
              </a:pPr>
              <a:r>
                <a:rPr lang="zh-CN" altLang="en-US" sz="1000" dirty="0">
                  <a:solidFill>
                    <a:prstClr val="black"/>
                  </a:solidFill>
                  <a:latin typeface="微软雅黑" panose="020B0503020204020204" pitchFamily="34" charset="-122"/>
                  <a:ea typeface="微软雅黑"/>
                </a:rPr>
                <a:t>多发性硬化症在我国的患病率约为</a:t>
              </a:r>
              <a:r>
                <a:rPr lang="en-US" altLang="zh-CN" sz="1000" dirty="0">
                  <a:solidFill>
                    <a:prstClr val="black"/>
                  </a:solidFill>
                  <a:latin typeface="微软雅黑" panose="020B0503020204020204" pitchFamily="34" charset="-122"/>
                  <a:ea typeface="微软雅黑"/>
                </a:rPr>
                <a:t>2.44/10</a:t>
              </a:r>
              <a:r>
                <a:rPr lang="zh-CN" altLang="en-US" sz="1000" dirty="0">
                  <a:solidFill>
                    <a:prstClr val="black"/>
                  </a:solidFill>
                  <a:latin typeface="微软雅黑" panose="020B0503020204020204" pitchFamily="34" charset="-122"/>
                  <a:ea typeface="微软雅黑"/>
                </a:rPr>
                <a:t>万</a:t>
              </a:r>
              <a:r>
                <a:rPr lang="en-US" altLang="zh-CN" sz="1000" baseline="30000" dirty="0">
                  <a:solidFill>
                    <a:prstClr val="black"/>
                  </a:solidFill>
                  <a:latin typeface="微软雅黑" panose="020B0503020204020204" pitchFamily="34" charset="-122"/>
                  <a:ea typeface="微软雅黑"/>
                </a:rPr>
                <a:t>3</a:t>
              </a:r>
              <a:r>
                <a:rPr lang="zh-CN" altLang="en-US" sz="1000" dirty="0">
                  <a:solidFill>
                    <a:prstClr val="black"/>
                  </a:solidFill>
                  <a:latin typeface="微软雅黑" panose="020B0503020204020204" pitchFamily="34" charset="-122"/>
                  <a:ea typeface="微软雅黑"/>
                </a:rPr>
                <a:t>，目前我国约有</a:t>
              </a:r>
              <a:r>
                <a:rPr lang="en-US" altLang="zh-CN" sz="1000" dirty="0">
                  <a:solidFill>
                    <a:prstClr val="black"/>
                  </a:solidFill>
                  <a:latin typeface="微软雅黑" panose="020B0503020204020204" pitchFamily="34" charset="-122"/>
                  <a:ea typeface="微软雅黑"/>
                </a:rPr>
                <a:t>3</a:t>
              </a:r>
              <a:r>
                <a:rPr lang="zh-CN" altLang="en-US" sz="1000" dirty="0">
                  <a:solidFill>
                    <a:prstClr val="black"/>
                  </a:solidFill>
                  <a:latin typeface="微软雅黑" panose="020B0503020204020204" pitchFamily="34" charset="-122"/>
                  <a:ea typeface="微软雅黑"/>
                </a:rPr>
                <a:t>万余名多发性硬化患者；</a:t>
              </a:r>
              <a:r>
                <a:rPr lang="en-US" altLang="zh-CN" sz="1000" dirty="0">
                  <a:solidFill>
                    <a:prstClr val="black"/>
                  </a:solidFill>
                  <a:latin typeface="微软雅黑" panose="020B0503020204020204" pitchFamily="34" charset="-122"/>
                  <a:ea typeface="微软雅黑"/>
                </a:rPr>
                <a:t>2.95</a:t>
              </a:r>
              <a:r>
                <a:rPr lang="zh-CN" altLang="en-US" sz="1000" dirty="0">
                  <a:solidFill>
                    <a:prstClr val="black"/>
                  </a:solidFill>
                  <a:latin typeface="微软雅黑" panose="020B0503020204020204" pitchFamily="34" charset="-122"/>
                  <a:ea typeface="微软雅黑"/>
                </a:rPr>
                <a:t>万的</a:t>
              </a:r>
              <a:r>
                <a:rPr lang="en-US" altLang="zh-CN" sz="1000" dirty="0">
                  <a:solidFill>
                    <a:prstClr val="black"/>
                  </a:solidFill>
                  <a:latin typeface="微软雅黑" panose="020B0503020204020204" pitchFamily="34" charset="-122"/>
                  <a:ea typeface="微软雅黑"/>
                </a:rPr>
                <a:t>MS</a:t>
              </a:r>
              <a:r>
                <a:rPr lang="zh-CN" altLang="en-US" sz="1000" dirty="0">
                  <a:solidFill>
                    <a:prstClr val="black"/>
                  </a:solidFill>
                  <a:latin typeface="微软雅黑" panose="020B0503020204020204" pitchFamily="34" charset="-122"/>
                  <a:ea typeface="微软雅黑"/>
                </a:rPr>
                <a:t>患者被诊断为复发型多发性硬化症（</a:t>
              </a:r>
              <a:r>
                <a:rPr lang="en-US" altLang="zh-CN" sz="1000" dirty="0">
                  <a:solidFill>
                    <a:prstClr val="black"/>
                  </a:solidFill>
                  <a:latin typeface="微软雅黑" panose="020B0503020204020204" pitchFamily="34" charset="-122"/>
                  <a:ea typeface="微软雅黑"/>
                </a:rPr>
                <a:t>RMS</a:t>
              </a:r>
              <a:r>
                <a:rPr lang="zh-CN" altLang="en-US" sz="1000" dirty="0">
                  <a:solidFill>
                    <a:prstClr val="black"/>
                  </a:solidFill>
                  <a:latin typeface="微软雅黑" panose="020B0503020204020204" pitchFamily="34" charset="-122"/>
                  <a:ea typeface="微软雅黑"/>
                </a:rPr>
                <a:t>）</a:t>
              </a:r>
              <a:r>
                <a:rPr lang="en-US" altLang="zh-CN" sz="1000" baseline="30000" dirty="0">
                  <a:solidFill>
                    <a:prstClr val="black"/>
                  </a:solidFill>
                  <a:latin typeface="微软雅黑" panose="020B0503020204020204" pitchFamily="34" charset="-122"/>
                  <a:ea typeface="微软雅黑"/>
                </a:rPr>
                <a:t>4</a:t>
              </a:r>
              <a:endParaRPr lang="en-US" altLang="zh-CN" sz="1000" dirty="0">
                <a:solidFill>
                  <a:prstClr val="black"/>
                </a:solidFill>
                <a:latin typeface="微软雅黑" panose="020B0503020204020204" pitchFamily="34" charset="-122"/>
                <a:ea typeface="微软雅黑"/>
              </a:endParaRPr>
            </a:p>
          </p:txBody>
        </p:sp>
        <p:sp>
          <p:nvSpPr>
            <p:cNvPr id="51" name="文本框 50">
              <a:extLst>
                <a:ext uri="{FF2B5EF4-FFF2-40B4-BE49-F238E27FC236}">
                  <a16:creationId xmlns:a16="http://schemas.microsoft.com/office/drawing/2014/main" id="{6A42D01C-7F1D-42CF-9933-BC57BC3E316F}"/>
                </a:ext>
              </a:extLst>
            </p:cNvPr>
            <p:cNvSpPr txBox="1"/>
            <p:nvPr/>
          </p:nvSpPr>
          <p:spPr>
            <a:xfrm>
              <a:off x="633228" y="5226286"/>
              <a:ext cx="1210588" cy="246221"/>
            </a:xfrm>
            <a:prstGeom prst="rect">
              <a:avLst/>
            </a:prstGeom>
            <a:noFill/>
          </p:spPr>
          <p:txBody>
            <a:bodyPr wrap="none" rtlCol="0">
              <a:spAutoFit/>
            </a:bodyPr>
            <a:lstStyle/>
            <a:p>
              <a:r>
                <a:rPr lang="en-US" altLang="zh-CN" sz="1000" b="1" dirty="0">
                  <a:solidFill>
                    <a:srgbClr val="2473BA"/>
                  </a:solidFill>
                  <a:latin typeface="微软雅黑" panose="020B0503020204020204" pitchFamily="34" charset="-122"/>
                  <a:ea typeface="微软雅黑"/>
                </a:rPr>
                <a:t>【</a:t>
              </a:r>
              <a:r>
                <a:rPr kumimoji="0" lang="zh-CN" altLang="en-US" sz="1000" b="1" i="0" u="none" strike="noStrike" kern="1200" cap="none" spc="0" normalizeH="0" baseline="0" noProof="0" dirty="0">
                  <a:ln>
                    <a:noFill/>
                  </a:ln>
                  <a:solidFill>
                    <a:srgbClr val="2473BA"/>
                  </a:solidFill>
                  <a:effectLst/>
                  <a:uLnTx/>
                  <a:uFillTx/>
                  <a:latin typeface="微软雅黑" panose="020B0503020204020204" pitchFamily="34" charset="-122"/>
                  <a:ea typeface="微软雅黑"/>
                  <a:cs typeface="+mn-cs"/>
                </a:rPr>
                <a:t>参照药品建议</a:t>
              </a:r>
              <a:r>
                <a:rPr lang="en-US" altLang="zh-CN" sz="1000" b="1" dirty="0">
                  <a:solidFill>
                    <a:srgbClr val="2473BA"/>
                  </a:solidFill>
                  <a:latin typeface="微软雅黑" panose="020B0503020204020204" pitchFamily="34" charset="-122"/>
                  <a:ea typeface="微软雅黑"/>
                </a:rPr>
                <a:t>】</a:t>
              </a:r>
              <a:endParaRPr lang="zh-CN" altLang="en-US" sz="1000" dirty="0">
                <a:solidFill>
                  <a:srgbClr val="2473BA"/>
                </a:solidFill>
              </a:endParaRPr>
            </a:p>
          </p:txBody>
        </p:sp>
        <p:sp>
          <p:nvSpPr>
            <p:cNvPr id="52" name="文本框 51">
              <a:extLst>
                <a:ext uri="{FF2B5EF4-FFF2-40B4-BE49-F238E27FC236}">
                  <a16:creationId xmlns:a16="http://schemas.microsoft.com/office/drawing/2014/main" id="{F57CDCEB-8032-404D-A28F-E2ACEABB4600}"/>
                </a:ext>
              </a:extLst>
            </p:cNvPr>
            <p:cNvSpPr txBox="1"/>
            <p:nvPr/>
          </p:nvSpPr>
          <p:spPr>
            <a:xfrm>
              <a:off x="1671861" y="5209216"/>
              <a:ext cx="1127640" cy="261354"/>
            </a:xfrm>
            <a:prstGeom prst="rect">
              <a:avLst/>
            </a:prstGeom>
            <a:noFill/>
          </p:spPr>
          <p:txBody>
            <a:bodyPr wrap="square">
              <a:spAutoFit/>
            </a:bodyPr>
            <a:lstStyle/>
            <a:p>
              <a:pPr algn="just">
                <a:lnSpc>
                  <a:spcPct val="120000"/>
                </a:lnSpc>
                <a:tabLst>
                  <a:tab pos="2720340" algn="r"/>
                  <a:tab pos="5742305" algn="l"/>
                </a:tabLst>
                <a:defRPr/>
              </a:pPr>
              <a:r>
                <a:rPr lang="zh-CN" altLang="en-US" sz="1000" dirty="0">
                  <a:solidFill>
                    <a:prstClr val="black"/>
                  </a:solidFill>
                  <a:latin typeface="微软雅黑" panose="020B0503020204020204" pitchFamily="34" charset="-122"/>
                  <a:ea typeface="微软雅黑"/>
                </a:rPr>
                <a:t>特立氟胺片</a:t>
              </a:r>
              <a:endParaRPr lang="en-US" altLang="zh-CN" sz="1000" dirty="0">
                <a:solidFill>
                  <a:prstClr val="black"/>
                </a:solidFill>
                <a:latin typeface="微软雅黑" panose="020B0503020204020204" pitchFamily="34" charset="-122"/>
                <a:ea typeface="微软雅黑"/>
              </a:endParaRPr>
            </a:p>
          </p:txBody>
        </p:sp>
      </p:grpSp>
      <p:sp>
        <p:nvSpPr>
          <p:cNvPr id="53" name="文本框 52">
            <a:extLst>
              <a:ext uri="{FF2B5EF4-FFF2-40B4-BE49-F238E27FC236}">
                <a16:creationId xmlns:a16="http://schemas.microsoft.com/office/drawing/2014/main" id="{457D60FA-B90E-4336-8E29-C9B9E1E37A2C}"/>
              </a:ext>
            </a:extLst>
          </p:cNvPr>
          <p:cNvSpPr txBox="1"/>
          <p:nvPr/>
        </p:nvSpPr>
        <p:spPr>
          <a:xfrm>
            <a:off x="4395913" y="1142424"/>
            <a:ext cx="1826141" cy="338554"/>
          </a:xfrm>
          <a:prstGeom prst="rect">
            <a:avLst/>
          </a:prstGeom>
          <a:noFill/>
        </p:spPr>
        <p:txBody>
          <a:bodyPr wrap="none" rtlCol="0">
            <a:spAutoFit/>
          </a:bodyPr>
          <a:lstStyle/>
          <a:p>
            <a:r>
              <a:rPr kumimoji="0" lang="zh-CN" altLang="en-US" sz="1600" b="1" i="0" u="none" strike="noStrike" kern="1200" cap="none" spc="0" normalizeH="0" baseline="0" noProof="0" dirty="0">
                <a:ln>
                  <a:noFill/>
                </a:ln>
                <a:solidFill>
                  <a:srgbClr val="2473BA"/>
                </a:solidFill>
                <a:effectLst/>
                <a:uLnTx/>
                <a:uFillTx/>
                <a:latin typeface="微软雅黑" panose="020B0503020204020204" pitchFamily="34" charset="-122"/>
                <a:ea typeface="微软雅黑"/>
                <a:cs typeface="+mn-cs"/>
              </a:rPr>
              <a:t>未满足的治疗需求</a:t>
            </a:r>
            <a:endParaRPr lang="zh-CN" altLang="en-US" sz="1600" dirty="0">
              <a:solidFill>
                <a:srgbClr val="2473BA"/>
              </a:solidFill>
            </a:endParaRPr>
          </a:p>
        </p:txBody>
      </p:sp>
      <p:sp>
        <p:nvSpPr>
          <p:cNvPr id="5" name="文本框 4">
            <a:extLst>
              <a:ext uri="{FF2B5EF4-FFF2-40B4-BE49-F238E27FC236}">
                <a16:creationId xmlns:a16="http://schemas.microsoft.com/office/drawing/2014/main" id="{35A5641D-0B11-74F7-0018-D78E7F404284}"/>
              </a:ext>
            </a:extLst>
          </p:cNvPr>
          <p:cNvSpPr txBox="1"/>
          <p:nvPr/>
        </p:nvSpPr>
        <p:spPr>
          <a:xfrm>
            <a:off x="499645" y="5820378"/>
            <a:ext cx="10811710" cy="461665"/>
          </a:xfrm>
          <a:prstGeom prst="rect">
            <a:avLst/>
          </a:prstGeom>
          <a:noFill/>
        </p:spPr>
        <p:txBody>
          <a:bodyPr wrap="square" rtlCol="0">
            <a:spAutoFit/>
          </a:bodyPr>
          <a:lstStyle/>
          <a:p>
            <a:r>
              <a:rPr lang="en-US" altLang="zh-CN" sz="800" dirty="0">
                <a:latin typeface="+mj-ea"/>
                <a:ea typeface="+mj-ea"/>
              </a:rPr>
              <a:t>1. </a:t>
            </a:r>
            <a:r>
              <a:rPr lang="zh-CN" altLang="en-US" sz="800" dirty="0">
                <a:latin typeface="+mj-ea"/>
                <a:ea typeface="+mj-ea"/>
              </a:rPr>
              <a:t>中国多发性硬化患者生存质量报告（</a:t>
            </a:r>
            <a:r>
              <a:rPr lang="en-US" altLang="zh-CN" sz="800" dirty="0">
                <a:latin typeface="+mj-ea"/>
                <a:ea typeface="+mj-ea"/>
              </a:rPr>
              <a:t>2018</a:t>
            </a:r>
            <a:r>
              <a:rPr lang="zh-CN" altLang="en-US" sz="800" dirty="0">
                <a:latin typeface="+mj-ea"/>
                <a:ea typeface="+mj-ea"/>
              </a:rPr>
              <a:t>年）；                   </a:t>
            </a:r>
            <a:r>
              <a:rPr lang="en-US" altLang="zh-CN" sz="800" dirty="0">
                <a:latin typeface="+mj-ea"/>
                <a:ea typeface="+mj-ea"/>
              </a:rPr>
              <a:t>2. </a:t>
            </a:r>
            <a:r>
              <a:rPr lang="zh-CN" altLang="en-US" sz="800" dirty="0">
                <a:latin typeface="+mj-ea"/>
                <a:ea typeface="+mj-ea"/>
              </a:rPr>
              <a:t>多发性硬化诊断和治疗中国专家共识</a:t>
            </a:r>
            <a:r>
              <a:rPr lang="en-US" altLang="zh-CN" sz="800" dirty="0">
                <a:latin typeface="+mj-ea"/>
                <a:ea typeface="+mj-ea"/>
              </a:rPr>
              <a:t>(2018</a:t>
            </a:r>
            <a:r>
              <a:rPr lang="zh-CN" altLang="en-US" sz="800" dirty="0">
                <a:latin typeface="+mj-ea"/>
                <a:ea typeface="+mj-ea"/>
              </a:rPr>
              <a:t>版</a:t>
            </a:r>
            <a:r>
              <a:rPr lang="en-US" altLang="zh-CN" sz="800" dirty="0">
                <a:latin typeface="+mj-ea"/>
                <a:ea typeface="+mj-ea"/>
              </a:rPr>
              <a:t>). </a:t>
            </a:r>
            <a:r>
              <a:rPr lang="zh-CN" altLang="en-US" sz="800" dirty="0">
                <a:latin typeface="+mj-ea"/>
                <a:ea typeface="+mj-ea"/>
              </a:rPr>
              <a:t>中国神经免疫学和神经病学杂志</a:t>
            </a:r>
            <a:r>
              <a:rPr lang="en-US" altLang="zh-CN" sz="800" dirty="0">
                <a:latin typeface="+mj-ea"/>
                <a:ea typeface="+mj-ea"/>
              </a:rPr>
              <a:t>, 2018.    </a:t>
            </a:r>
          </a:p>
          <a:p>
            <a:r>
              <a:rPr lang="en-US" altLang="zh-CN" sz="800" dirty="0">
                <a:latin typeface="+mj-ea"/>
                <a:ea typeface="+mj-ea"/>
              </a:rPr>
              <a:t>3. Xu, L., et al. </a:t>
            </a:r>
            <a:r>
              <a:rPr lang="en-US" altLang="zh-CN" sz="800" dirty="0" err="1">
                <a:latin typeface="+mj-ea"/>
                <a:ea typeface="+mj-ea"/>
              </a:rPr>
              <a:t>Eur</a:t>
            </a:r>
            <a:r>
              <a:rPr lang="en-US" altLang="zh-CN" sz="800" dirty="0">
                <a:latin typeface="+mj-ea"/>
                <a:ea typeface="+mj-ea"/>
              </a:rPr>
              <a:t> J Neurol, 2021. 28(5): p. 1636-1644.         4. </a:t>
            </a:r>
            <a:r>
              <a:rPr lang="en-US" altLang="zh-CN" sz="800" dirty="0" err="1">
                <a:latin typeface="+mj-ea"/>
                <a:ea typeface="+mj-ea"/>
              </a:rPr>
              <a:t>Inojosa</a:t>
            </a:r>
            <a:r>
              <a:rPr lang="en-US" altLang="zh-CN" sz="800" dirty="0">
                <a:latin typeface="+mj-ea"/>
                <a:ea typeface="+mj-ea"/>
              </a:rPr>
              <a:t> H, et al. J Neurol. 2021 Apr;268(4)1210-1221</a:t>
            </a:r>
            <a:r>
              <a:rPr lang="zh-CN" altLang="en-US" sz="800" dirty="0">
                <a:latin typeface="+mj-ea"/>
                <a:ea typeface="+mj-ea"/>
              </a:rPr>
              <a:t>； </a:t>
            </a:r>
            <a:endParaRPr lang="en-US" altLang="zh-CN" sz="800" dirty="0">
              <a:latin typeface="+mj-ea"/>
              <a:ea typeface="+mj-ea"/>
            </a:endParaRPr>
          </a:p>
          <a:p>
            <a:r>
              <a:rPr lang="en-US" altLang="zh-CN" sz="800" dirty="0">
                <a:latin typeface="+mj-ea"/>
                <a:ea typeface="+mj-ea"/>
              </a:rPr>
              <a:t>5. 《2020</a:t>
            </a:r>
            <a:r>
              <a:rPr lang="zh-CN" altLang="en-US" sz="800" dirty="0">
                <a:latin typeface="+mj-ea"/>
                <a:ea typeface="+mj-ea"/>
              </a:rPr>
              <a:t>中国多发性硬化患者综合社会调查报告</a:t>
            </a:r>
            <a:r>
              <a:rPr lang="en-US" altLang="zh-CN" sz="800" dirty="0">
                <a:latin typeface="+mj-ea"/>
                <a:ea typeface="+mj-ea"/>
              </a:rPr>
              <a:t>》                   6. Sun Y </a:t>
            </a:r>
            <a:r>
              <a:rPr lang="en-US" altLang="zh-CN" sz="800" dirty="0" err="1">
                <a:latin typeface="+mj-ea"/>
                <a:ea typeface="+mj-ea"/>
              </a:rPr>
              <a:t>et,al</a:t>
            </a:r>
            <a:r>
              <a:rPr lang="en-US" altLang="zh-CN" sz="800" dirty="0">
                <a:latin typeface="+mj-ea"/>
                <a:ea typeface="+mj-ea"/>
              </a:rPr>
              <a:t>. BMJ Open. 2019 Nov 10;9(11):e029793. </a:t>
            </a:r>
          </a:p>
        </p:txBody>
      </p:sp>
      <p:cxnSp>
        <p:nvCxnSpPr>
          <p:cNvPr id="11" name="直接连接符 10">
            <a:extLst>
              <a:ext uri="{FF2B5EF4-FFF2-40B4-BE49-F238E27FC236}">
                <a16:creationId xmlns:a16="http://schemas.microsoft.com/office/drawing/2014/main" id="{A10D7FA2-2091-D8B2-7139-BA469B10A01E}"/>
              </a:ext>
            </a:extLst>
          </p:cNvPr>
          <p:cNvCxnSpPr/>
          <p:nvPr/>
        </p:nvCxnSpPr>
        <p:spPr>
          <a:xfrm>
            <a:off x="4334243" y="1628414"/>
            <a:ext cx="6915442" cy="0"/>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81691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圆角 33">
            <a:extLst>
              <a:ext uri="{FF2B5EF4-FFF2-40B4-BE49-F238E27FC236}">
                <a16:creationId xmlns:a16="http://schemas.microsoft.com/office/drawing/2014/main" id="{DAA7648A-0687-7788-FF6A-80A05FCED1D5}"/>
              </a:ext>
            </a:extLst>
          </p:cNvPr>
          <p:cNvSpPr/>
          <p:nvPr/>
        </p:nvSpPr>
        <p:spPr>
          <a:xfrm rot="16200000">
            <a:off x="7340924" y="947302"/>
            <a:ext cx="1766463" cy="6792695"/>
          </a:xfrm>
          <a:prstGeom prst="roundRect">
            <a:avLst>
              <a:gd name="adj" fmla="val 3867"/>
            </a:avLst>
          </a:prstGeom>
          <a:gradFill>
            <a:gsLst>
              <a:gs pos="57000">
                <a:srgbClr val="8FBEE9">
                  <a:alpha val="5000"/>
                </a:srgbClr>
              </a:gs>
              <a:gs pos="0">
                <a:srgbClr val="5EA2E0">
                  <a:alpha val="10000"/>
                </a:srgb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2"/>
            </p:custDataLst>
            <p:extLst>
              <p:ext uri="{D42A27DB-BD31-4B8C-83A1-F6EECF244321}">
                <p14:modId xmlns:p14="http://schemas.microsoft.com/office/powerpoint/2010/main" val="2900217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矩形: 圆角 6">
            <a:extLst>
              <a:ext uri="{FF2B5EF4-FFF2-40B4-BE49-F238E27FC236}">
                <a16:creationId xmlns:a16="http://schemas.microsoft.com/office/drawing/2014/main" id="{E3776022-39B0-ED96-C5FB-D60CEA33A606}"/>
              </a:ext>
            </a:extLst>
          </p:cNvPr>
          <p:cNvSpPr/>
          <p:nvPr/>
        </p:nvSpPr>
        <p:spPr>
          <a:xfrm rot="16200000">
            <a:off x="7340924" y="-1079274"/>
            <a:ext cx="1766463" cy="6792695"/>
          </a:xfrm>
          <a:prstGeom prst="roundRect">
            <a:avLst>
              <a:gd name="adj" fmla="val 3867"/>
            </a:avLst>
          </a:prstGeom>
          <a:gradFill>
            <a:gsLst>
              <a:gs pos="57000">
                <a:srgbClr val="8FBEE9">
                  <a:alpha val="5000"/>
                </a:srgbClr>
              </a:gs>
              <a:gs pos="0">
                <a:srgbClr val="5EA2E0">
                  <a:alpha val="10000"/>
                </a:srgb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 name="标题 1">
            <a:extLst>
              <a:ext uri="{FF2B5EF4-FFF2-40B4-BE49-F238E27FC236}">
                <a16:creationId xmlns:a16="http://schemas.microsoft.com/office/drawing/2014/main" id="{6E359D9E-6413-495B-A0F6-99A71B3F8455}"/>
              </a:ext>
            </a:extLst>
          </p:cNvPr>
          <p:cNvSpPr>
            <a:spLocks noGrp="1"/>
          </p:cNvSpPr>
          <p:nvPr>
            <p:ph type="title"/>
          </p:nvPr>
        </p:nvSpPr>
        <p:spPr/>
        <p:txBody>
          <a:bodyPr vert="horz">
            <a:normAutofit fontScale="90000"/>
          </a:bodyPr>
          <a:lstStyle/>
          <a:p>
            <a:r>
              <a:rPr lang="en-US" altLang="zh-CN" dirty="0"/>
              <a:t>02 </a:t>
            </a:r>
            <a:r>
              <a:rPr lang="zh-CN" altLang="en-US" dirty="0"/>
              <a:t>安全性</a:t>
            </a:r>
            <a:r>
              <a:rPr lang="en-US" altLang="zh-CN" dirty="0"/>
              <a:t>-</a:t>
            </a:r>
            <a:r>
              <a:rPr lang="zh-CN" altLang="en-US" dirty="0"/>
              <a:t>上：常见不良反应轻中度</a:t>
            </a:r>
          </a:p>
        </p:txBody>
      </p:sp>
      <p:sp>
        <p:nvSpPr>
          <p:cNvPr id="15" name="标题 1">
            <a:extLst>
              <a:ext uri="{FF2B5EF4-FFF2-40B4-BE49-F238E27FC236}">
                <a16:creationId xmlns:a16="http://schemas.microsoft.com/office/drawing/2014/main" id="{978B4DDB-9E63-41FC-B764-5D2B3D82ACA0}"/>
              </a:ext>
            </a:extLst>
          </p:cNvPr>
          <p:cNvSpPr txBox="1">
            <a:spLocks/>
          </p:cNvSpPr>
          <p:nvPr/>
        </p:nvSpPr>
        <p:spPr>
          <a:xfrm>
            <a:off x="11525289" y="-83909"/>
            <a:ext cx="666711" cy="6723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772160"/>
                </a:solidFill>
                <a:latin typeface="微软雅黑" panose="020B0503020204020204" pitchFamily="34" charset="-122"/>
                <a:ea typeface="微软雅黑" panose="020B0503020204020204" pitchFamily="34" charset="-122"/>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zh-CN" sz="2700" dirty="0">
                <a:solidFill>
                  <a:schemeClr val="bg1"/>
                </a:solidFill>
              </a:rPr>
              <a:t>02</a:t>
            </a:r>
            <a:endParaRPr kumimoji="0" lang="zh-CN" altLang="en-US" sz="27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j-cs"/>
            </a:endParaRPr>
          </a:p>
        </p:txBody>
      </p:sp>
      <p:grpSp>
        <p:nvGrpSpPr>
          <p:cNvPr id="41" name="组合 40">
            <a:extLst>
              <a:ext uri="{FF2B5EF4-FFF2-40B4-BE49-F238E27FC236}">
                <a16:creationId xmlns:a16="http://schemas.microsoft.com/office/drawing/2014/main" id="{B30D8346-A079-4A95-85AF-D306F9FAF428}"/>
              </a:ext>
            </a:extLst>
          </p:cNvPr>
          <p:cNvGrpSpPr/>
          <p:nvPr/>
        </p:nvGrpSpPr>
        <p:grpSpPr>
          <a:xfrm>
            <a:off x="1036320" y="1208051"/>
            <a:ext cx="3486150" cy="4099901"/>
            <a:chOff x="736600" y="1644650"/>
            <a:chExt cx="3486150" cy="4099901"/>
          </a:xfrm>
        </p:grpSpPr>
        <p:sp>
          <p:nvSpPr>
            <p:cNvPr id="17" name="矩形: 圆角 16">
              <a:extLst>
                <a:ext uri="{FF2B5EF4-FFF2-40B4-BE49-F238E27FC236}">
                  <a16:creationId xmlns:a16="http://schemas.microsoft.com/office/drawing/2014/main" id="{A1A3ADB1-4D32-41AC-B9C7-C255A579D23C}"/>
                </a:ext>
              </a:extLst>
            </p:cNvPr>
            <p:cNvSpPr/>
            <p:nvPr/>
          </p:nvSpPr>
          <p:spPr>
            <a:xfrm>
              <a:off x="1123950" y="1803401"/>
              <a:ext cx="3098800" cy="3941150"/>
            </a:xfrm>
            <a:prstGeom prst="roundRect">
              <a:avLst>
                <a:gd name="adj" fmla="val 7535"/>
              </a:avLst>
            </a:prstGeom>
            <a:solidFill>
              <a:schemeClr val="bg1"/>
            </a:solidFill>
            <a:ln>
              <a:solidFill>
                <a:srgbClr val="2473BA"/>
              </a:solidFill>
            </a:ln>
            <a:effectLst>
              <a:outerShdw dist="12700" dir="2700000" sy="-23000" kx="-800400" algn="bl" rotWithShape="0">
                <a:srgbClr val="2473BA">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a:extLst>
                <a:ext uri="{FF2B5EF4-FFF2-40B4-BE49-F238E27FC236}">
                  <a16:creationId xmlns:a16="http://schemas.microsoft.com/office/drawing/2014/main" id="{FA3771AD-F88A-4B17-9244-F770C423E907}"/>
                </a:ext>
              </a:extLst>
            </p:cNvPr>
            <p:cNvSpPr/>
            <p:nvPr/>
          </p:nvSpPr>
          <p:spPr>
            <a:xfrm>
              <a:off x="736600" y="1644650"/>
              <a:ext cx="904792" cy="6463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9FAA8B43-53F7-4BEA-94A6-7B4DCBC2FE4E}"/>
                </a:ext>
              </a:extLst>
            </p:cNvPr>
            <p:cNvSpPr txBox="1"/>
            <p:nvPr/>
          </p:nvSpPr>
          <p:spPr>
            <a:xfrm>
              <a:off x="1463790" y="2139792"/>
              <a:ext cx="2447862" cy="873957"/>
            </a:xfrm>
            <a:prstGeom prst="rect">
              <a:avLst/>
            </a:prstGeom>
            <a:noFill/>
          </p:spPr>
          <p:txBody>
            <a:bodyPr wrap="square">
              <a:spAutoFit/>
            </a:bodyPr>
            <a:lstStyle/>
            <a:p>
              <a:pPr algn="ctr">
                <a:lnSpc>
                  <a:spcPct val="150000"/>
                </a:lnSpc>
              </a:pPr>
              <a:r>
                <a:rPr kumimoji="0" lang="zh-CN" altLang="en-US" sz="18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说明书常见不良反应</a:t>
              </a:r>
              <a:endParaRPr kumimoji="0" lang="en-US" altLang="zh-CN" sz="18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algn="ctr">
                <a:lnSpc>
                  <a:spcPct val="150000"/>
                </a:lnSpc>
              </a:pPr>
              <a:r>
                <a:rPr kumimoji="0" lang="zh-CN" altLang="en-US" sz="18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轻中度</a:t>
              </a:r>
              <a:endParaRPr kumimoji="0" lang="en-US" altLang="zh-CN" sz="18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3" name="文本框 22">
              <a:extLst>
                <a:ext uri="{FF2B5EF4-FFF2-40B4-BE49-F238E27FC236}">
                  <a16:creationId xmlns:a16="http://schemas.microsoft.com/office/drawing/2014/main" id="{EFDBB05F-A5B7-4807-AC3E-BD2700AD10F6}"/>
                </a:ext>
              </a:extLst>
            </p:cNvPr>
            <p:cNvSpPr txBox="1"/>
            <p:nvPr/>
          </p:nvSpPr>
          <p:spPr>
            <a:xfrm>
              <a:off x="1270386" y="5040928"/>
              <a:ext cx="2887663" cy="338554"/>
            </a:xfrm>
            <a:prstGeom prst="rect">
              <a:avLst/>
            </a:prstGeom>
            <a:noFill/>
          </p:spPr>
          <p:txBody>
            <a:bodyPr wrap="square">
              <a:spAutoFit/>
            </a:bodyPr>
            <a:lstStyle/>
            <a:p>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通常患者无需治疗可</a:t>
              </a:r>
              <a:r>
                <a:rPr kumimoji="0" lang="zh-CN" altLang="en-US" sz="1600" b="1"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自行缓解</a:t>
              </a:r>
              <a:endParaRPr lang="zh-CN" altLang="en-US" sz="1600" dirty="0">
                <a:solidFill>
                  <a:srgbClr val="C00000"/>
                </a:solidFill>
              </a:endParaRPr>
            </a:p>
          </p:txBody>
        </p:sp>
        <p:grpSp>
          <p:nvGrpSpPr>
            <p:cNvPr id="39" name="组合 38">
              <a:extLst>
                <a:ext uri="{FF2B5EF4-FFF2-40B4-BE49-F238E27FC236}">
                  <a16:creationId xmlns:a16="http://schemas.microsoft.com/office/drawing/2014/main" id="{DE940EFE-35E7-45CB-B555-496BF26285D7}"/>
                </a:ext>
              </a:extLst>
            </p:cNvPr>
            <p:cNvGrpSpPr/>
            <p:nvPr/>
          </p:nvGrpSpPr>
          <p:grpSpPr>
            <a:xfrm>
              <a:off x="1368453" y="3112370"/>
              <a:ext cx="815191" cy="1092424"/>
              <a:chOff x="1329193" y="3225419"/>
              <a:chExt cx="815191" cy="1092424"/>
            </a:xfrm>
          </p:grpSpPr>
          <p:grpSp>
            <p:nvGrpSpPr>
              <p:cNvPr id="32" name="组合 31">
                <a:extLst>
                  <a:ext uri="{FF2B5EF4-FFF2-40B4-BE49-F238E27FC236}">
                    <a16:creationId xmlns:a16="http://schemas.microsoft.com/office/drawing/2014/main" id="{8EE5B98B-EA88-403C-924A-D9920486FF62}"/>
                  </a:ext>
                </a:extLst>
              </p:cNvPr>
              <p:cNvGrpSpPr/>
              <p:nvPr/>
            </p:nvGrpSpPr>
            <p:grpSpPr>
              <a:xfrm>
                <a:off x="1329193" y="3225419"/>
                <a:ext cx="815191" cy="815191"/>
                <a:chOff x="1217130" y="3343152"/>
                <a:chExt cx="815191" cy="815191"/>
              </a:xfrm>
            </p:grpSpPr>
            <p:sp>
              <p:nvSpPr>
                <p:cNvPr id="21" name="椭圆 20">
                  <a:extLst>
                    <a:ext uri="{FF2B5EF4-FFF2-40B4-BE49-F238E27FC236}">
                      <a16:creationId xmlns:a16="http://schemas.microsoft.com/office/drawing/2014/main" id="{96B29096-CB66-4DB9-94E3-280268A1F0EB}"/>
                    </a:ext>
                  </a:extLst>
                </p:cNvPr>
                <p:cNvSpPr/>
                <p:nvPr/>
              </p:nvSpPr>
              <p:spPr>
                <a:xfrm>
                  <a:off x="1217130" y="3343152"/>
                  <a:ext cx="815191" cy="8151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0" name="iconfont-11773-5618765">
                  <a:extLst>
                    <a:ext uri="{FF2B5EF4-FFF2-40B4-BE49-F238E27FC236}">
                      <a16:creationId xmlns:a16="http://schemas.microsoft.com/office/drawing/2014/main" id="{8C6114E4-9A76-4F45-9CB7-9A9E652609AF}"/>
                    </a:ext>
                  </a:extLst>
                </p:cNvPr>
                <p:cNvSpPr/>
                <p:nvPr/>
              </p:nvSpPr>
              <p:spPr>
                <a:xfrm>
                  <a:off x="1361609" y="3456132"/>
                  <a:ext cx="519742" cy="609685"/>
                </a:xfrm>
                <a:custGeom>
                  <a:avLst/>
                  <a:gdLst>
                    <a:gd name="T0" fmla="*/ 280 w 2415"/>
                    <a:gd name="T1" fmla="*/ 1917 h 2837"/>
                    <a:gd name="T2" fmla="*/ 300 w 2415"/>
                    <a:gd name="T3" fmla="*/ 1229 h 2837"/>
                    <a:gd name="T4" fmla="*/ 572 w 2415"/>
                    <a:gd name="T5" fmla="*/ 186 h 2837"/>
                    <a:gd name="T6" fmla="*/ 624 w 2415"/>
                    <a:gd name="T7" fmla="*/ 151 h 2837"/>
                    <a:gd name="T8" fmla="*/ 2112 w 2415"/>
                    <a:gd name="T9" fmla="*/ 417 h 2837"/>
                    <a:gd name="T10" fmla="*/ 2415 w 2415"/>
                    <a:gd name="T11" fmla="*/ 1509 h 2837"/>
                    <a:gd name="T12" fmla="*/ 2114 w 2415"/>
                    <a:gd name="T13" fmla="*/ 1930 h 2837"/>
                    <a:gd name="T14" fmla="*/ 1207 w 2415"/>
                    <a:gd name="T15" fmla="*/ 2770 h 2837"/>
                    <a:gd name="T16" fmla="*/ 1964 w 2415"/>
                    <a:gd name="T17" fmla="*/ 1638 h 2837"/>
                    <a:gd name="T18" fmla="*/ 1806 w 2415"/>
                    <a:gd name="T19" fmla="*/ 935 h 2837"/>
                    <a:gd name="T20" fmla="*/ 1617 w 2415"/>
                    <a:gd name="T21" fmla="*/ 683 h 2837"/>
                    <a:gd name="T22" fmla="*/ 631 w 2415"/>
                    <a:gd name="T23" fmla="*/ 613 h 2837"/>
                    <a:gd name="T24" fmla="*/ 591 w 2415"/>
                    <a:gd name="T25" fmla="*/ 955 h 2837"/>
                    <a:gd name="T26" fmla="*/ 425 w 2415"/>
                    <a:gd name="T27" fmla="*/ 1647 h 2837"/>
                    <a:gd name="T28" fmla="*/ 2135 w 2415"/>
                    <a:gd name="T29" fmla="*/ 1850 h 2837"/>
                    <a:gd name="T30" fmla="*/ 2115 w 2415"/>
                    <a:gd name="T31" fmla="*/ 1296 h 2837"/>
                    <a:gd name="T32" fmla="*/ 67 w 2415"/>
                    <a:gd name="T33" fmla="*/ 1637 h 2837"/>
                    <a:gd name="T34" fmla="*/ 280 w 2415"/>
                    <a:gd name="T35" fmla="*/ 1296 h 2837"/>
                    <a:gd name="T36" fmla="*/ 1923 w 2415"/>
                    <a:gd name="T37" fmla="*/ 769 h 2837"/>
                    <a:gd name="T38" fmla="*/ 366 w 2415"/>
                    <a:gd name="T39" fmla="*/ 1581 h 2837"/>
                    <a:gd name="T40" fmla="*/ 490 w 2415"/>
                    <a:gd name="T41" fmla="*/ 757 h 2837"/>
                    <a:gd name="T42" fmla="*/ 366 w 2415"/>
                    <a:gd name="T43" fmla="*/ 1581 h 2837"/>
                    <a:gd name="T44" fmla="*/ 1695 w 2415"/>
                    <a:gd name="T45" fmla="*/ 554 h 2837"/>
                    <a:gd name="T46" fmla="*/ 696 w 2415"/>
                    <a:gd name="T47" fmla="*/ 571 h 2837"/>
                    <a:gd name="T48" fmla="*/ 1472 w 2415"/>
                    <a:gd name="T49" fmla="*/ 470 h 2837"/>
                    <a:gd name="T50" fmla="*/ 1613 w 2415"/>
                    <a:gd name="T51" fmla="*/ 395 h 2837"/>
                    <a:gd name="T52" fmla="*/ 556 w 2415"/>
                    <a:gd name="T53" fmla="*/ 344 h 2837"/>
                    <a:gd name="T54" fmla="*/ 1472 w 2415"/>
                    <a:gd name="T55" fmla="*/ 470 h 2837"/>
                    <a:gd name="T56" fmla="*/ 2052 w 2415"/>
                    <a:gd name="T57" fmla="*/ 445 h 2837"/>
                    <a:gd name="T58" fmla="*/ 1100 w 2415"/>
                    <a:gd name="T59" fmla="*/ 92 h 2837"/>
                    <a:gd name="T60" fmla="*/ 659 w 2415"/>
                    <a:gd name="T61" fmla="*/ 208 h 2837"/>
                    <a:gd name="T62" fmla="*/ 812 w 2415"/>
                    <a:gd name="T63" fmla="*/ 372 h 2837"/>
                    <a:gd name="T64" fmla="*/ 876 w 2415"/>
                    <a:gd name="T65" fmla="*/ 2171 h 2837"/>
                    <a:gd name="T66" fmla="*/ 648 w 2415"/>
                    <a:gd name="T67" fmla="*/ 2185 h 2837"/>
                    <a:gd name="T68" fmla="*/ 923 w 2415"/>
                    <a:gd name="T69" fmla="*/ 2123 h 2837"/>
                    <a:gd name="T70" fmla="*/ 1342 w 2415"/>
                    <a:gd name="T71" fmla="*/ 2121 h 2837"/>
                    <a:gd name="T72" fmla="*/ 1632 w 2415"/>
                    <a:gd name="T73" fmla="*/ 2070 h 2837"/>
                    <a:gd name="T74" fmla="*/ 1718 w 2415"/>
                    <a:gd name="T75" fmla="*/ 2175 h 2837"/>
                    <a:gd name="T76" fmla="*/ 1424 w 2415"/>
                    <a:gd name="T77" fmla="*/ 2223 h 2837"/>
                    <a:gd name="T78" fmla="*/ 1133 w 2415"/>
                    <a:gd name="T79" fmla="*/ 2169 h 2837"/>
                    <a:gd name="T80" fmla="*/ 665 w 2415"/>
                    <a:gd name="T81" fmla="*/ 1540 h 2837"/>
                    <a:gd name="T82" fmla="*/ 1108 w 2415"/>
                    <a:gd name="T83" fmla="*/ 1476 h 2837"/>
                    <a:gd name="T84" fmla="*/ 1015 w 2415"/>
                    <a:gd name="T85" fmla="*/ 1563 h 2837"/>
                    <a:gd name="T86" fmla="*/ 1041 w 2415"/>
                    <a:gd name="T87" fmla="*/ 1476 h 2837"/>
                    <a:gd name="T88" fmla="*/ 1531 w 2415"/>
                    <a:gd name="T89" fmla="*/ 1699 h 2837"/>
                    <a:gd name="T90" fmla="*/ 1531 w 2415"/>
                    <a:gd name="T91" fmla="*/ 1699 h 2837"/>
                    <a:gd name="T92" fmla="*/ 1402 w 2415"/>
                    <a:gd name="T93" fmla="*/ 1563 h 2837"/>
                    <a:gd name="T94" fmla="*/ 1531 w 2415"/>
                    <a:gd name="T95" fmla="*/ 1319 h 2837"/>
                    <a:gd name="T96" fmla="*/ 1498 w 2415"/>
                    <a:gd name="T97" fmla="*/ 1452 h 2837"/>
                    <a:gd name="T98" fmla="*/ 1565 w 2415"/>
                    <a:gd name="T99" fmla="*/ 1452 h 2837"/>
                    <a:gd name="T100" fmla="*/ 849 w 2415"/>
                    <a:gd name="T101" fmla="*/ 1449 h 2837"/>
                    <a:gd name="T102" fmla="*/ 882 w 2415"/>
                    <a:gd name="T103" fmla="*/ 1486 h 2837"/>
                    <a:gd name="T104" fmla="*/ 1395 w 2415"/>
                    <a:gd name="T105" fmla="*/ 1039 h 2837"/>
                    <a:gd name="T106" fmla="*/ 1636 w 2415"/>
                    <a:gd name="T107" fmla="*/ 1164 h 2837"/>
                    <a:gd name="T108" fmla="*/ 975 w 2415"/>
                    <a:gd name="T109" fmla="*/ 1020 h 2837"/>
                    <a:gd name="T110" fmla="*/ 777 w 2415"/>
                    <a:gd name="T111" fmla="*/ 1164 h 2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15" h="2837">
                      <a:moveTo>
                        <a:pt x="1207" y="2837"/>
                      </a:moveTo>
                      <a:cubicBezTo>
                        <a:pt x="706" y="2837"/>
                        <a:pt x="300" y="2430"/>
                        <a:pt x="300" y="1930"/>
                      </a:cubicBezTo>
                      <a:lnTo>
                        <a:pt x="300" y="1917"/>
                      </a:lnTo>
                      <a:lnTo>
                        <a:pt x="280" y="1917"/>
                      </a:lnTo>
                      <a:cubicBezTo>
                        <a:pt x="125" y="1917"/>
                        <a:pt x="0" y="1791"/>
                        <a:pt x="0" y="1637"/>
                      </a:cubicBezTo>
                      <a:lnTo>
                        <a:pt x="0" y="1509"/>
                      </a:lnTo>
                      <a:cubicBezTo>
                        <a:pt x="0" y="1355"/>
                        <a:pt x="125" y="1229"/>
                        <a:pt x="280" y="1229"/>
                      </a:cubicBezTo>
                      <a:lnTo>
                        <a:pt x="300" y="1229"/>
                      </a:lnTo>
                      <a:lnTo>
                        <a:pt x="300" y="817"/>
                      </a:lnTo>
                      <a:cubicBezTo>
                        <a:pt x="300" y="659"/>
                        <a:pt x="373" y="509"/>
                        <a:pt x="496" y="411"/>
                      </a:cubicBezTo>
                      <a:cubicBezTo>
                        <a:pt x="492" y="389"/>
                        <a:pt x="490" y="367"/>
                        <a:pt x="490" y="344"/>
                      </a:cubicBezTo>
                      <a:cubicBezTo>
                        <a:pt x="490" y="287"/>
                        <a:pt x="520" y="228"/>
                        <a:pt x="572" y="186"/>
                      </a:cubicBezTo>
                      <a:cubicBezTo>
                        <a:pt x="572" y="186"/>
                        <a:pt x="573" y="185"/>
                        <a:pt x="573" y="185"/>
                      </a:cubicBezTo>
                      <a:lnTo>
                        <a:pt x="604" y="163"/>
                      </a:lnTo>
                      <a:cubicBezTo>
                        <a:pt x="605" y="162"/>
                        <a:pt x="607" y="161"/>
                        <a:pt x="608" y="160"/>
                      </a:cubicBezTo>
                      <a:cubicBezTo>
                        <a:pt x="613" y="158"/>
                        <a:pt x="618" y="155"/>
                        <a:pt x="624" y="151"/>
                      </a:cubicBezTo>
                      <a:cubicBezTo>
                        <a:pt x="654" y="133"/>
                        <a:pt x="698" y="107"/>
                        <a:pt x="771" y="84"/>
                      </a:cubicBezTo>
                      <a:cubicBezTo>
                        <a:pt x="872" y="51"/>
                        <a:pt x="979" y="32"/>
                        <a:pt x="1097" y="25"/>
                      </a:cubicBezTo>
                      <a:cubicBezTo>
                        <a:pt x="1547" y="0"/>
                        <a:pt x="1948" y="131"/>
                        <a:pt x="2071" y="344"/>
                      </a:cubicBezTo>
                      <a:cubicBezTo>
                        <a:pt x="2088" y="369"/>
                        <a:pt x="2101" y="393"/>
                        <a:pt x="2112" y="417"/>
                      </a:cubicBezTo>
                      <a:cubicBezTo>
                        <a:pt x="2214" y="635"/>
                        <a:pt x="2131" y="864"/>
                        <a:pt x="2114" y="908"/>
                      </a:cubicBezTo>
                      <a:lnTo>
                        <a:pt x="2114" y="1229"/>
                      </a:lnTo>
                      <a:lnTo>
                        <a:pt x="2135" y="1229"/>
                      </a:lnTo>
                      <a:cubicBezTo>
                        <a:pt x="2290" y="1229"/>
                        <a:pt x="2415" y="1355"/>
                        <a:pt x="2415" y="1509"/>
                      </a:cubicBezTo>
                      <a:lnTo>
                        <a:pt x="2415" y="1637"/>
                      </a:lnTo>
                      <a:cubicBezTo>
                        <a:pt x="2415" y="1791"/>
                        <a:pt x="2290" y="1917"/>
                        <a:pt x="2135" y="1917"/>
                      </a:cubicBezTo>
                      <a:lnTo>
                        <a:pt x="2114" y="1917"/>
                      </a:lnTo>
                      <a:lnTo>
                        <a:pt x="2114" y="1930"/>
                      </a:lnTo>
                      <a:cubicBezTo>
                        <a:pt x="2114" y="2430"/>
                        <a:pt x="1707" y="2837"/>
                        <a:pt x="1207" y="2837"/>
                      </a:cubicBezTo>
                      <a:close/>
                      <a:moveTo>
                        <a:pt x="366" y="1883"/>
                      </a:moveTo>
                      <a:lnTo>
                        <a:pt x="366" y="1930"/>
                      </a:lnTo>
                      <a:cubicBezTo>
                        <a:pt x="366" y="2393"/>
                        <a:pt x="743" y="2770"/>
                        <a:pt x="1207" y="2770"/>
                      </a:cubicBezTo>
                      <a:cubicBezTo>
                        <a:pt x="1670" y="2770"/>
                        <a:pt x="2047" y="2393"/>
                        <a:pt x="2047" y="1930"/>
                      </a:cubicBezTo>
                      <a:lnTo>
                        <a:pt x="2047" y="1647"/>
                      </a:lnTo>
                      <a:lnTo>
                        <a:pt x="1988" y="1647"/>
                      </a:lnTo>
                      <a:cubicBezTo>
                        <a:pt x="1979" y="1647"/>
                        <a:pt x="1970" y="1644"/>
                        <a:pt x="1964" y="1638"/>
                      </a:cubicBezTo>
                      <a:cubicBezTo>
                        <a:pt x="1958" y="1631"/>
                        <a:pt x="1954" y="1623"/>
                        <a:pt x="1955" y="1614"/>
                      </a:cubicBezTo>
                      <a:cubicBezTo>
                        <a:pt x="1955" y="1610"/>
                        <a:pt x="1959" y="1226"/>
                        <a:pt x="1929" y="1107"/>
                      </a:cubicBezTo>
                      <a:cubicBezTo>
                        <a:pt x="1902" y="1000"/>
                        <a:pt x="1825" y="957"/>
                        <a:pt x="1822" y="955"/>
                      </a:cubicBezTo>
                      <a:cubicBezTo>
                        <a:pt x="1814" y="951"/>
                        <a:pt x="1808" y="943"/>
                        <a:pt x="1806" y="935"/>
                      </a:cubicBezTo>
                      <a:cubicBezTo>
                        <a:pt x="1803" y="926"/>
                        <a:pt x="1805" y="916"/>
                        <a:pt x="1809" y="909"/>
                      </a:cubicBezTo>
                      <a:cubicBezTo>
                        <a:pt x="1810" y="908"/>
                        <a:pt x="1855" y="830"/>
                        <a:pt x="1857" y="756"/>
                      </a:cubicBezTo>
                      <a:cubicBezTo>
                        <a:pt x="1857" y="744"/>
                        <a:pt x="1808" y="715"/>
                        <a:pt x="1743" y="697"/>
                      </a:cubicBezTo>
                      <a:cubicBezTo>
                        <a:pt x="1672" y="683"/>
                        <a:pt x="1619" y="683"/>
                        <a:pt x="1617" y="683"/>
                      </a:cubicBezTo>
                      <a:cubicBezTo>
                        <a:pt x="1617" y="683"/>
                        <a:pt x="1617" y="683"/>
                        <a:pt x="1616" y="683"/>
                      </a:cubicBezTo>
                      <a:lnTo>
                        <a:pt x="923" y="683"/>
                      </a:lnTo>
                      <a:cubicBezTo>
                        <a:pt x="823" y="683"/>
                        <a:pt x="736" y="666"/>
                        <a:pt x="666" y="632"/>
                      </a:cubicBezTo>
                      <a:cubicBezTo>
                        <a:pt x="654" y="627"/>
                        <a:pt x="642" y="620"/>
                        <a:pt x="631" y="613"/>
                      </a:cubicBezTo>
                      <a:cubicBezTo>
                        <a:pt x="600" y="649"/>
                        <a:pt x="556" y="710"/>
                        <a:pt x="556" y="757"/>
                      </a:cubicBezTo>
                      <a:cubicBezTo>
                        <a:pt x="556" y="830"/>
                        <a:pt x="603" y="907"/>
                        <a:pt x="604" y="908"/>
                      </a:cubicBezTo>
                      <a:cubicBezTo>
                        <a:pt x="608" y="916"/>
                        <a:pt x="610" y="926"/>
                        <a:pt x="607" y="934"/>
                      </a:cubicBezTo>
                      <a:cubicBezTo>
                        <a:pt x="605" y="943"/>
                        <a:pt x="599" y="951"/>
                        <a:pt x="591" y="955"/>
                      </a:cubicBezTo>
                      <a:cubicBezTo>
                        <a:pt x="588" y="957"/>
                        <a:pt x="511" y="1000"/>
                        <a:pt x="484" y="1107"/>
                      </a:cubicBezTo>
                      <a:cubicBezTo>
                        <a:pt x="455" y="1226"/>
                        <a:pt x="459" y="1610"/>
                        <a:pt x="459" y="1614"/>
                      </a:cubicBezTo>
                      <a:cubicBezTo>
                        <a:pt x="459" y="1623"/>
                        <a:pt x="455" y="1631"/>
                        <a:pt x="449" y="1638"/>
                      </a:cubicBezTo>
                      <a:cubicBezTo>
                        <a:pt x="443" y="1644"/>
                        <a:pt x="434" y="1647"/>
                        <a:pt x="425" y="1647"/>
                      </a:cubicBezTo>
                      <a:lnTo>
                        <a:pt x="366" y="1647"/>
                      </a:lnTo>
                      <a:lnTo>
                        <a:pt x="366" y="1883"/>
                      </a:lnTo>
                      <a:close/>
                      <a:moveTo>
                        <a:pt x="2115" y="1850"/>
                      </a:moveTo>
                      <a:lnTo>
                        <a:pt x="2135" y="1850"/>
                      </a:lnTo>
                      <a:cubicBezTo>
                        <a:pt x="2253" y="1850"/>
                        <a:pt x="2348" y="1755"/>
                        <a:pt x="2348" y="1637"/>
                      </a:cubicBezTo>
                      <a:lnTo>
                        <a:pt x="2348" y="1509"/>
                      </a:lnTo>
                      <a:cubicBezTo>
                        <a:pt x="2348" y="1392"/>
                        <a:pt x="2253" y="1296"/>
                        <a:pt x="2135" y="1296"/>
                      </a:cubicBezTo>
                      <a:lnTo>
                        <a:pt x="2115" y="1296"/>
                      </a:lnTo>
                      <a:lnTo>
                        <a:pt x="2115" y="1850"/>
                      </a:lnTo>
                      <a:close/>
                      <a:moveTo>
                        <a:pt x="280" y="1296"/>
                      </a:moveTo>
                      <a:cubicBezTo>
                        <a:pt x="162" y="1296"/>
                        <a:pt x="67" y="1392"/>
                        <a:pt x="67" y="1509"/>
                      </a:cubicBezTo>
                      <a:lnTo>
                        <a:pt x="67" y="1637"/>
                      </a:lnTo>
                      <a:cubicBezTo>
                        <a:pt x="67" y="1755"/>
                        <a:pt x="162" y="1850"/>
                        <a:pt x="280" y="1850"/>
                      </a:cubicBezTo>
                      <a:lnTo>
                        <a:pt x="300" y="1850"/>
                      </a:lnTo>
                      <a:lnTo>
                        <a:pt x="300" y="1296"/>
                      </a:lnTo>
                      <a:lnTo>
                        <a:pt x="280" y="1296"/>
                      </a:lnTo>
                      <a:close/>
                      <a:moveTo>
                        <a:pt x="2021" y="1581"/>
                      </a:moveTo>
                      <a:lnTo>
                        <a:pt x="2047" y="1581"/>
                      </a:lnTo>
                      <a:lnTo>
                        <a:pt x="2047" y="911"/>
                      </a:lnTo>
                      <a:cubicBezTo>
                        <a:pt x="2018" y="847"/>
                        <a:pt x="1973" y="802"/>
                        <a:pt x="1923" y="769"/>
                      </a:cubicBezTo>
                      <a:cubicBezTo>
                        <a:pt x="1919" y="827"/>
                        <a:pt x="1897" y="883"/>
                        <a:pt x="1881" y="915"/>
                      </a:cubicBezTo>
                      <a:cubicBezTo>
                        <a:pt x="1915" y="941"/>
                        <a:pt x="1970" y="997"/>
                        <a:pt x="1994" y="1091"/>
                      </a:cubicBezTo>
                      <a:cubicBezTo>
                        <a:pt x="2020" y="1198"/>
                        <a:pt x="2022" y="1482"/>
                        <a:pt x="2021" y="1581"/>
                      </a:cubicBezTo>
                      <a:close/>
                      <a:moveTo>
                        <a:pt x="366" y="1581"/>
                      </a:moveTo>
                      <a:lnTo>
                        <a:pt x="392" y="1581"/>
                      </a:lnTo>
                      <a:cubicBezTo>
                        <a:pt x="391" y="1482"/>
                        <a:pt x="393" y="1198"/>
                        <a:pt x="420" y="1091"/>
                      </a:cubicBezTo>
                      <a:cubicBezTo>
                        <a:pt x="443" y="997"/>
                        <a:pt x="498" y="942"/>
                        <a:pt x="532" y="915"/>
                      </a:cubicBezTo>
                      <a:cubicBezTo>
                        <a:pt x="515" y="881"/>
                        <a:pt x="490" y="820"/>
                        <a:pt x="490" y="757"/>
                      </a:cubicBezTo>
                      <a:cubicBezTo>
                        <a:pt x="489" y="686"/>
                        <a:pt x="546" y="610"/>
                        <a:pt x="580" y="571"/>
                      </a:cubicBezTo>
                      <a:cubicBezTo>
                        <a:pt x="554" y="545"/>
                        <a:pt x="533" y="514"/>
                        <a:pt x="518" y="480"/>
                      </a:cubicBezTo>
                      <a:cubicBezTo>
                        <a:pt x="422" y="565"/>
                        <a:pt x="366" y="688"/>
                        <a:pt x="366" y="817"/>
                      </a:cubicBezTo>
                      <a:lnTo>
                        <a:pt x="366" y="1581"/>
                      </a:lnTo>
                      <a:close/>
                      <a:moveTo>
                        <a:pt x="1622" y="615"/>
                      </a:moveTo>
                      <a:cubicBezTo>
                        <a:pt x="1668" y="615"/>
                        <a:pt x="1937" y="624"/>
                        <a:pt x="2072" y="819"/>
                      </a:cubicBezTo>
                      <a:cubicBezTo>
                        <a:pt x="2077" y="801"/>
                        <a:pt x="2082" y="780"/>
                        <a:pt x="2086" y="757"/>
                      </a:cubicBezTo>
                      <a:cubicBezTo>
                        <a:pt x="2046" y="719"/>
                        <a:pt x="1905" y="594"/>
                        <a:pt x="1695" y="554"/>
                      </a:cubicBezTo>
                      <a:cubicBezTo>
                        <a:pt x="1548" y="527"/>
                        <a:pt x="1374" y="537"/>
                        <a:pt x="1207" y="548"/>
                      </a:cubicBezTo>
                      <a:cubicBezTo>
                        <a:pt x="1082" y="556"/>
                        <a:pt x="953" y="564"/>
                        <a:pt x="838" y="555"/>
                      </a:cubicBezTo>
                      <a:cubicBezTo>
                        <a:pt x="727" y="547"/>
                        <a:pt x="651" y="518"/>
                        <a:pt x="598" y="485"/>
                      </a:cubicBezTo>
                      <a:cubicBezTo>
                        <a:pt x="622" y="522"/>
                        <a:pt x="656" y="552"/>
                        <a:pt x="696" y="571"/>
                      </a:cubicBezTo>
                      <a:cubicBezTo>
                        <a:pt x="757" y="600"/>
                        <a:pt x="834" y="615"/>
                        <a:pt x="923" y="615"/>
                      </a:cubicBezTo>
                      <a:lnTo>
                        <a:pt x="1616" y="615"/>
                      </a:lnTo>
                      <a:cubicBezTo>
                        <a:pt x="1617" y="615"/>
                        <a:pt x="1619" y="615"/>
                        <a:pt x="1622" y="615"/>
                      </a:cubicBezTo>
                      <a:close/>
                      <a:moveTo>
                        <a:pt x="1472" y="470"/>
                      </a:moveTo>
                      <a:cubicBezTo>
                        <a:pt x="1553" y="470"/>
                        <a:pt x="1633" y="475"/>
                        <a:pt x="1707" y="489"/>
                      </a:cubicBezTo>
                      <a:cubicBezTo>
                        <a:pt x="1892" y="524"/>
                        <a:pt x="2026" y="617"/>
                        <a:pt x="2094" y="675"/>
                      </a:cubicBezTo>
                      <a:cubicBezTo>
                        <a:pt x="2095" y="646"/>
                        <a:pt x="2095" y="615"/>
                        <a:pt x="2091" y="583"/>
                      </a:cubicBezTo>
                      <a:cubicBezTo>
                        <a:pt x="1998" y="490"/>
                        <a:pt x="1833" y="425"/>
                        <a:pt x="1613" y="395"/>
                      </a:cubicBezTo>
                      <a:cubicBezTo>
                        <a:pt x="1497" y="379"/>
                        <a:pt x="1364" y="397"/>
                        <a:pt x="1223" y="416"/>
                      </a:cubicBezTo>
                      <a:cubicBezTo>
                        <a:pt x="1082" y="436"/>
                        <a:pt x="935" y="455"/>
                        <a:pt x="803" y="438"/>
                      </a:cubicBezTo>
                      <a:cubicBezTo>
                        <a:pt x="657" y="419"/>
                        <a:pt x="590" y="366"/>
                        <a:pt x="559" y="319"/>
                      </a:cubicBezTo>
                      <a:cubicBezTo>
                        <a:pt x="557" y="328"/>
                        <a:pt x="556" y="336"/>
                        <a:pt x="556" y="344"/>
                      </a:cubicBezTo>
                      <a:cubicBezTo>
                        <a:pt x="556" y="347"/>
                        <a:pt x="556" y="351"/>
                        <a:pt x="556" y="354"/>
                      </a:cubicBezTo>
                      <a:cubicBezTo>
                        <a:pt x="567" y="375"/>
                        <a:pt x="629" y="472"/>
                        <a:pt x="843" y="488"/>
                      </a:cubicBezTo>
                      <a:cubicBezTo>
                        <a:pt x="953" y="497"/>
                        <a:pt x="1074" y="489"/>
                        <a:pt x="1202" y="481"/>
                      </a:cubicBezTo>
                      <a:cubicBezTo>
                        <a:pt x="1292" y="476"/>
                        <a:pt x="1383" y="470"/>
                        <a:pt x="1472" y="470"/>
                      </a:cubicBezTo>
                      <a:close/>
                      <a:moveTo>
                        <a:pt x="1517" y="322"/>
                      </a:moveTo>
                      <a:cubicBezTo>
                        <a:pt x="1553" y="322"/>
                        <a:pt x="1588" y="324"/>
                        <a:pt x="1622" y="329"/>
                      </a:cubicBezTo>
                      <a:cubicBezTo>
                        <a:pt x="1808" y="354"/>
                        <a:pt x="1959" y="405"/>
                        <a:pt x="2065" y="476"/>
                      </a:cubicBezTo>
                      <a:cubicBezTo>
                        <a:pt x="2061" y="466"/>
                        <a:pt x="2057" y="455"/>
                        <a:pt x="2052" y="445"/>
                      </a:cubicBezTo>
                      <a:cubicBezTo>
                        <a:pt x="2042" y="424"/>
                        <a:pt x="2030" y="403"/>
                        <a:pt x="2015" y="380"/>
                      </a:cubicBezTo>
                      <a:lnTo>
                        <a:pt x="2015" y="380"/>
                      </a:lnTo>
                      <a:cubicBezTo>
                        <a:pt x="2015" y="380"/>
                        <a:pt x="2014" y="379"/>
                        <a:pt x="2014" y="378"/>
                      </a:cubicBezTo>
                      <a:cubicBezTo>
                        <a:pt x="1904" y="189"/>
                        <a:pt x="1521" y="68"/>
                        <a:pt x="1100" y="92"/>
                      </a:cubicBezTo>
                      <a:cubicBezTo>
                        <a:pt x="989" y="98"/>
                        <a:pt x="887" y="116"/>
                        <a:pt x="791" y="148"/>
                      </a:cubicBezTo>
                      <a:cubicBezTo>
                        <a:pt x="791" y="148"/>
                        <a:pt x="791" y="148"/>
                        <a:pt x="790" y="148"/>
                      </a:cubicBezTo>
                      <a:lnTo>
                        <a:pt x="790" y="148"/>
                      </a:lnTo>
                      <a:cubicBezTo>
                        <a:pt x="725" y="168"/>
                        <a:pt x="685" y="192"/>
                        <a:pt x="659" y="208"/>
                      </a:cubicBezTo>
                      <a:cubicBezTo>
                        <a:pt x="652" y="212"/>
                        <a:pt x="647" y="215"/>
                        <a:pt x="641" y="218"/>
                      </a:cubicBezTo>
                      <a:lnTo>
                        <a:pt x="613" y="239"/>
                      </a:lnTo>
                      <a:cubicBezTo>
                        <a:pt x="609" y="242"/>
                        <a:pt x="605" y="245"/>
                        <a:pt x="602" y="249"/>
                      </a:cubicBezTo>
                      <a:cubicBezTo>
                        <a:pt x="606" y="275"/>
                        <a:pt x="633" y="349"/>
                        <a:pt x="812" y="372"/>
                      </a:cubicBezTo>
                      <a:cubicBezTo>
                        <a:pt x="935" y="388"/>
                        <a:pt x="1077" y="369"/>
                        <a:pt x="1214" y="350"/>
                      </a:cubicBezTo>
                      <a:cubicBezTo>
                        <a:pt x="1315" y="336"/>
                        <a:pt x="1419" y="322"/>
                        <a:pt x="1517" y="322"/>
                      </a:cubicBezTo>
                      <a:close/>
                      <a:moveTo>
                        <a:pt x="1004" y="2223"/>
                      </a:moveTo>
                      <a:cubicBezTo>
                        <a:pt x="957" y="2223"/>
                        <a:pt x="911" y="2206"/>
                        <a:pt x="876" y="2171"/>
                      </a:cubicBezTo>
                      <a:lnTo>
                        <a:pt x="873" y="2168"/>
                      </a:lnTo>
                      <a:cubicBezTo>
                        <a:pt x="829" y="2124"/>
                        <a:pt x="757" y="2124"/>
                        <a:pt x="712" y="2168"/>
                      </a:cubicBezTo>
                      <a:lnTo>
                        <a:pt x="695" y="2185"/>
                      </a:lnTo>
                      <a:cubicBezTo>
                        <a:pt x="682" y="2198"/>
                        <a:pt x="661" y="2198"/>
                        <a:pt x="648" y="2185"/>
                      </a:cubicBezTo>
                      <a:cubicBezTo>
                        <a:pt x="635" y="2172"/>
                        <a:pt x="635" y="2151"/>
                        <a:pt x="648" y="2138"/>
                      </a:cubicBezTo>
                      <a:lnTo>
                        <a:pt x="665" y="2121"/>
                      </a:lnTo>
                      <a:cubicBezTo>
                        <a:pt x="735" y="2051"/>
                        <a:pt x="850" y="2051"/>
                        <a:pt x="920" y="2121"/>
                      </a:cubicBezTo>
                      <a:lnTo>
                        <a:pt x="923" y="2123"/>
                      </a:lnTo>
                      <a:cubicBezTo>
                        <a:pt x="967" y="2168"/>
                        <a:pt x="1040" y="2168"/>
                        <a:pt x="1084" y="2123"/>
                      </a:cubicBezTo>
                      <a:lnTo>
                        <a:pt x="1086" y="2121"/>
                      </a:lnTo>
                      <a:cubicBezTo>
                        <a:pt x="1120" y="2087"/>
                        <a:pt x="1166" y="2068"/>
                        <a:pt x="1214" y="2068"/>
                      </a:cubicBezTo>
                      <a:cubicBezTo>
                        <a:pt x="1262" y="2068"/>
                        <a:pt x="1308" y="2087"/>
                        <a:pt x="1342" y="2121"/>
                      </a:cubicBezTo>
                      <a:lnTo>
                        <a:pt x="1343" y="2123"/>
                      </a:lnTo>
                      <a:cubicBezTo>
                        <a:pt x="1365" y="2145"/>
                        <a:pt x="1394" y="2156"/>
                        <a:pt x="1424" y="2156"/>
                      </a:cubicBezTo>
                      <a:cubicBezTo>
                        <a:pt x="1454" y="2156"/>
                        <a:pt x="1483" y="2145"/>
                        <a:pt x="1505" y="2123"/>
                      </a:cubicBezTo>
                      <a:cubicBezTo>
                        <a:pt x="1539" y="2089"/>
                        <a:pt x="1584" y="2070"/>
                        <a:pt x="1632" y="2070"/>
                      </a:cubicBezTo>
                      <a:cubicBezTo>
                        <a:pt x="1681" y="2070"/>
                        <a:pt x="1726" y="2089"/>
                        <a:pt x="1760" y="2123"/>
                      </a:cubicBezTo>
                      <a:lnTo>
                        <a:pt x="1765" y="2128"/>
                      </a:lnTo>
                      <a:cubicBezTo>
                        <a:pt x="1778" y="2141"/>
                        <a:pt x="1778" y="2162"/>
                        <a:pt x="1765" y="2175"/>
                      </a:cubicBezTo>
                      <a:cubicBezTo>
                        <a:pt x="1752" y="2188"/>
                        <a:pt x="1731" y="2188"/>
                        <a:pt x="1718" y="2175"/>
                      </a:cubicBezTo>
                      <a:lnTo>
                        <a:pt x="1713" y="2170"/>
                      </a:lnTo>
                      <a:cubicBezTo>
                        <a:pt x="1691" y="2149"/>
                        <a:pt x="1663" y="2137"/>
                        <a:pt x="1632" y="2137"/>
                      </a:cubicBezTo>
                      <a:cubicBezTo>
                        <a:pt x="1602" y="2137"/>
                        <a:pt x="1573" y="2149"/>
                        <a:pt x="1552" y="2170"/>
                      </a:cubicBezTo>
                      <a:cubicBezTo>
                        <a:pt x="1518" y="2204"/>
                        <a:pt x="1472" y="2223"/>
                        <a:pt x="1424" y="2223"/>
                      </a:cubicBezTo>
                      <a:cubicBezTo>
                        <a:pt x="1376" y="2223"/>
                        <a:pt x="1330" y="2204"/>
                        <a:pt x="1296" y="2170"/>
                      </a:cubicBezTo>
                      <a:lnTo>
                        <a:pt x="1295" y="2169"/>
                      </a:lnTo>
                      <a:cubicBezTo>
                        <a:pt x="1273" y="2147"/>
                        <a:pt x="1244" y="2135"/>
                        <a:pt x="1214" y="2135"/>
                      </a:cubicBezTo>
                      <a:cubicBezTo>
                        <a:pt x="1184" y="2135"/>
                        <a:pt x="1155" y="2147"/>
                        <a:pt x="1133" y="2169"/>
                      </a:cubicBezTo>
                      <a:lnTo>
                        <a:pt x="1131" y="2171"/>
                      </a:lnTo>
                      <a:cubicBezTo>
                        <a:pt x="1096" y="2206"/>
                        <a:pt x="1050" y="2223"/>
                        <a:pt x="1004" y="2223"/>
                      </a:cubicBezTo>
                      <a:close/>
                      <a:moveTo>
                        <a:pt x="882" y="1702"/>
                      </a:moveTo>
                      <a:cubicBezTo>
                        <a:pt x="780" y="1702"/>
                        <a:pt x="693" y="1633"/>
                        <a:pt x="665" y="1540"/>
                      </a:cubicBezTo>
                      <a:cubicBezTo>
                        <a:pt x="665" y="1540"/>
                        <a:pt x="665" y="1539"/>
                        <a:pt x="665" y="1539"/>
                      </a:cubicBezTo>
                      <a:cubicBezTo>
                        <a:pt x="659" y="1519"/>
                        <a:pt x="656" y="1497"/>
                        <a:pt x="656" y="1476"/>
                      </a:cubicBezTo>
                      <a:cubicBezTo>
                        <a:pt x="656" y="1351"/>
                        <a:pt x="757" y="1250"/>
                        <a:pt x="882" y="1250"/>
                      </a:cubicBezTo>
                      <a:cubicBezTo>
                        <a:pt x="1007" y="1250"/>
                        <a:pt x="1108" y="1351"/>
                        <a:pt x="1108" y="1476"/>
                      </a:cubicBezTo>
                      <a:cubicBezTo>
                        <a:pt x="1108" y="1600"/>
                        <a:pt x="1007" y="1702"/>
                        <a:pt x="882" y="1702"/>
                      </a:cubicBezTo>
                      <a:close/>
                      <a:moveTo>
                        <a:pt x="749" y="1563"/>
                      </a:moveTo>
                      <a:cubicBezTo>
                        <a:pt x="777" y="1606"/>
                        <a:pt x="826" y="1635"/>
                        <a:pt x="882" y="1635"/>
                      </a:cubicBezTo>
                      <a:cubicBezTo>
                        <a:pt x="937" y="1635"/>
                        <a:pt x="986" y="1606"/>
                        <a:pt x="1015" y="1563"/>
                      </a:cubicBezTo>
                      <a:lnTo>
                        <a:pt x="749" y="1563"/>
                      </a:lnTo>
                      <a:close/>
                      <a:moveTo>
                        <a:pt x="724" y="1497"/>
                      </a:moveTo>
                      <a:lnTo>
                        <a:pt x="1040" y="1497"/>
                      </a:lnTo>
                      <a:cubicBezTo>
                        <a:pt x="1041" y="1490"/>
                        <a:pt x="1041" y="1483"/>
                        <a:pt x="1041" y="1476"/>
                      </a:cubicBezTo>
                      <a:cubicBezTo>
                        <a:pt x="1041" y="1388"/>
                        <a:pt x="970" y="1316"/>
                        <a:pt x="882" y="1316"/>
                      </a:cubicBezTo>
                      <a:cubicBezTo>
                        <a:pt x="794" y="1316"/>
                        <a:pt x="723" y="1388"/>
                        <a:pt x="723" y="1476"/>
                      </a:cubicBezTo>
                      <a:cubicBezTo>
                        <a:pt x="722" y="1483"/>
                        <a:pt x="723" y="1490"/>
                        <a:pt x="724" y="1497"/>
                      </a:cubicBezTo>
                      <a:close/>
                      <a:moveTo>
                        <a:pt x="1531" y="1699"/>
                      </a:moveTo>
                      <a:cubicBezTo>
                        <a:pt x="1408" y="1699"/>
                        <a:pt x="1308" y="1599"/>
                        <a:pt x="1308" y="1476"/>
                      </a:cubicBezTo>
                      <a:cubicBezTo>
                        <a:pt x="1308" y="1353"/>
                        <a:pt x="1408" y="1252"/>
                        <a:pt x="1531" y="1252"/>
                      </a:cubicBezTo>
                      <a:cubicBezTo>
                        <a:pt x="1654" y="1252"/>
                        <a:pt x="1755" y="1353"/>
                        <a:pt x="1755" y="1476"/>
                      </a:cubicBezTo>
                      <a:cubicBezTo>
                        <a:pt x="1755" y="1599"/>
                        <a:pt x="1654" y="1699"/>
                        <a:pt x="1531" y="1699"/>
                      </a:cubicBezTo>
                      <a:close/>
                      <a:moveTo>
                        <a:pt x="1402" y="1563"/>
                      </a:moveTo>
                      <a:cubicBezTo>
                        <a:pt x="1430" y="1605"/>
                        <a:pt x="1478" y="1632"/>
                        <a:pt x="1531" y="1632"/>
                      </a:cubicBezTo>
                      <a:cubicBezTo>
                        <a:pt x="1585" y="1632"/>
                        <a:pt x="1633" y="1605"/>
                        <a:pt x="1661" y="1563"/>
                      </a:cubicBezTo>
                      <a:lnTo>
                        <a:pt x="1402" y="1563"/>
                      </a:lnTo>
                      <a:close/>
                      <a:moveTo>
                        <a:pt x="1376" y="1497"/>
                      </a:moveTo>
                      <a:lnTo>
                        <a:pt x="1686" y="1497"/>
                      </a:lnTo>
                      <a:cubicBezTo>
                        <a:pt x="1687" y="1490"/>
                        <a:pt x="1688" y="1483"/>
                        <a:pt x="1688" y="1476"/>
                      </a:cubicBezTo>
                      <a:cubicBezTo>
                        <a:pt x="1688" y="1389"/>
                        <a:pt x="1618" y="1319"/>
                        <a:pt x="1531" y="1319"/>
                      </a:cubicBezTo>
                      <a:cubicBezTo>
                        <a:pt x="1445" y="1319"/>
                        <a:pt x="1375" y="1389"/>
                        <a:pt x="1375" y="1476"/>
                      </a:cubicBezTo>
                      <a:cubicBezTo>
                        <a:pt x="1375" y="1483"/>
                        <a:pt x="1376" y="1490"/>
                        <a:pt x="1376" y="1497"/>
                      </a:cubicBezTo>
                      <a:close/>
                      <a:moveTo>
                        <a:pt x="1531" y="1486"/>
                      </a:moveTo>
                      <a:cubicBezTo>
                        <a:pt x="1513" y="1486"/>
                        <a:pt x="1498" y="1471"/>
                        <a:pt x="1498" y="1452"/>
                      </a:cubicBezTo>
                      <a:lnTo>
                        <a:pt x="1498" y="1449"/>
                      </a:lnTo>
                      <a:cubicBezTo>
                        <a:pt x="1498" y="1430"/>
                        <a:pt x="1513" y="1416"/>
                        <a:pt x="1531" y="1416"/>
                      </a:cubicBezTo>
                      <a:cubicBezTo>
                        <a:pt x="1550" y="1416"/>
                        <a:pt x="1565" y="1430"/>
                        <a:pt x="1565" y="1449"/>
                      </a:cubicBezTo>
                      <a:lnTo>
                        <a:pt x="1565" y="1452"/>
                      </a:lnTo>
                      <a:cubicBezTo>
                        <a:pt x="1565" y="1471"/>
                        <a:pt x="1550" y="1486"/>
                        <a:pt x="1531" y="1486"/>
                      </a:cubicBezTo>
                      <a:close/>
                      <a:moveTo>
                        <a:pt x="882" y="1486"/>
                      </a:moveTo>
                      <a:cubicBezTo>
                        <a:pt x="863" y="1486"/>
                        <a:pt x="849" y="1471"/>
                        <a:pt x="849" y="1452"/>
                      </a:cubicBezTo>
                      <a:lnTo>
                        <a:pt x="849" y="1449"/>
                      </a:lnTo>
                      <a:cubicBezTo>
                        <a:pt x="849" y="1430"/>
                        <a:pt x="863" y="1416"/>
                        <a:pt x="882" y="1416"/>
                      </a:cubicBezTo>
                      <a:cubicBezTo>
                        <a:pt x="900" y="1416"/>
                        <a:pt x="915" y="1430"/>
                        <a:pt x="915" y="1449"/>
                      </a:cubicBezTo>
                      <a:lnTo>
                        <a:pt x="915" y="1452"/>
                      </a:lnTo>
                      <a:cubicBezTo>
                        <a:pt x="915" y="1471"/>
                        <a:pt x="900" y="1486"/>
                        <a:pt x="882" y="1486"/>
                      </a:cubicBezTo>
                      <a:close/>
                      <a:moveTo>
                        <a:pt x="1636" y="1164"/>
                      </a:moveTo>
                      <a:cubicBezTo>
                        <a:pt x="1632" y="1164"/>
                        <a:pt x="1628" y="1164"/>
                        <a:pt x="1624" y="1162"/>
                      </a:cubicBezTo>
                      <a:lnTo>
                        <a:pt x="1415" y="1082"/>
                      </a:lnTo>
                      <a:cubicBezTo>
                        <a:pt x="1398" y="1076"/>
                        <a:pt x="1389" y="1057"/>
                        <a:pt x="1395" y="1039"/>
                      </a:cubicBezTo>
                      <a:cubicBezTo>
                        <a:pt x="1402" y="1022"/>
                        <a:pt x="1421" y="1014"/>
                        <a:pt x="1439" y="1020"/>
                      </a:cubicBezTo>
                      <a:lnTo>
                        <a:pt x="1648" y="1100"/>
                      </a:lnTo>
                      <a:cubicBezTo>
                        <a:pt x="1665" y="1106"/>
                        <a:pt x="1674" y="1126"/>
                        <a:pt x="1667" y="1143"/>
                      </a:cubicBezTo>
                      <a:cubicBezTo>
                        <a:pt x="1662" y="1156"/>
                        <a:pt x="1650" y="1164"/>
                        <a:pt x="1636" y="1164"/>
                      </a:cubicBezTo>
                      <a:close/>
                      <a:moveTo>
                        <a:pt x="777" y="1164"/>
                      </a:moveTo>
                      <a:cubicBezTo>
                        <a:pt x="764" y="1164"/>
                        <a:pt x="751" y="1156"/>
                        <a:pt x="746" y="1143"/>
                      </a:cubicBezTo>
                      <a:cubicBezTo>
                        <a:pt x="739" y="1126"/>
                        <a:pt x="748" y="1106"/>
                        <a:pt x="765" y="1100"/>
                      </a:cubicBezTo>
                      <a:lnTo>
                        <a:pt x="975" y="1020"/>
                      </a:lnTo>
                      <a:cubicBezTo>
                        <a:pt x="992" y="1014"/>
                        <a:pt x="1011" y="1022"/>
                        <a:pt x="1018" y="1039"/>
                      </a:cubicBezTo>
                      <a:cubicBezTo>
                        <a:pt x="1024" y="1057"/>
                        <a:pt x="1016" y="1076"/>
                        <a:pt x="999" y="1082"/>
                      </a:cubicBezTo>
                      <a:lnTo>
                        <a:pt x="789" y="1162"/>
                      </a:lnTo>
                      <a:cubicBezTo>
                        <a:pt x="785" y="1164"/>
                        <a:pt x="781" y="1164"/>
                        <a:pt x="777" y="11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35" name="文本框 34">
                <a:extLst>
                  <a:ext uri="{FF2B5EF4-FFF2-40B4-BE49-F238E27FC236}">
                    <a16:creationId xmlns:a16="http://schemas.microsoft.com/office/drawing/2014/main" id="{F22F106F-5ACE-4614-A528-F3844352646C}"/>
                  </a:ext>
                </a:extLst>
              </p:cNvPr>
              <p:cNvSpPr txBox="1"/>
              <p:nvPr/>
            </p:nvSpPr>
            <p:spPr>
              <a:xfrm>
                <a:off x="1489019" y="4010066"/>
                <a:ext cx="586946" cy="307777"/>
              </a:xfrm>
              <a:prstGeom prst="rect">
                <a:avLst/>
              </a:prstGeom>
              <a:noFill/>
            </p:spPr>
            <p:txBody>
              <a:bodyPr wrap="square">
                <a:spAutoFit/>
              </a:bodyPr>
              <a:lstStyle/>
              <a:p>
                <a:r>
                  <a:rPr lang="zh-CN" altLang="en-US" sz="1400" dirty="0">
                    <a:solidFill>
                      <a:srgbClr val="2473BA"/>
                    </a:solidFill>
                    <a:latin typeface="Arial" panose="020B0604020202020204" pitchFamily="34" charset="0"/>
                    <a:ea typeface="微软雅黑" panose="020B0503020204020204" pitchFamily="34" charset="-122"/>
                  </a:rPr>
                  <a:t>潮</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红</a:t>
                </a:r>
                <a:endParaRPr lang="zh-CN" altLang="en-US" sz="1400" dirty="0"/>
              </a:p>
            </p:txBody>
          </p:sp>
        </p:grpSp>
        <p:grpSp>
          <p:nvGrpSpPr>
            <p:cNvPr id="40" name="组合 39">
              <a:extLst>
                <a:ext uri="{FF2B5EF4-FFF2-40B4-BE49-F238E27FC236}">
                  <a16:creationId xmlns:a16="http://schemas.microsoft.com/office/drawing/2014/main" id="{D86CE95A-199E-4C95-958D-8CDB052CDAF7}"/>
                </a:ext>
              </a:extLst>
            </p:cNvPr>
            <p:cNvGrpSpPr/>
            <p:nvPr/>
          </p:nvGrpSpPr>
          <p:grpSpPr>
            <a:xfrm>
              <a:off x="2245834" y="3654382"/>
              <a:ext cx="815191" cy="1092424"/>
              <a:chOff x="2257880" y="3225419"/>
              <a:chExt cx="815191" cy="1092424"/>
            </a:xfrm>
          </p:grpSpPr>
          <p:grpSp>
            <p:nvGrpSpPr>
              <p:cNvPr id="33" name="组合 32">
                <a:extLst>
                  <a:ext uri="{FF2B5EF4-FFF2-40B4-BE49-F238E27FC236}">
                    <a16:creationId xmlns:a16="http://schemas.microsoft.com/office/drawing/2014/main" id="{97F27ECE-B95E-4174-84E8-90B922130501}"/>
                  </a:ext>
                </a:extLst>
              </p:cNvPr>
              <p:cNvGrpSpPr/>
              <p:nvPr/>
            </p:nvGrpSpPr>
            <p:grpSpPr>
              <a:xfrm>
                <a:off x="2257880" y="3225419"/>
                <a:ext cx="815191" cy="815191"/>
                <a:chOff x="2238374" y="3343152"/>
                <a:chExt cx="815191" cy="815191"/>
              </a:xfrm>
            </p:grpSpPr>
            <p:sp>
              <p:nvSpPr>
                <p:cNvPr id="28" name="椭圆 27">
                  <a:extLst>
                    <a:ext uri="{FF2B5EF4-FFF2-40B4-BE49-F238E27FC236}">
                      <a16:creationId xmlns:a16="http://schemas.microsoft.com/office/drawing/2014/main" id="{8BD4D2B6-25D7-492F-B1BB-6E86B6039246}"/>
                    </a:ext>
                  </a:extLst>
                </p:cNvPr>
                <p:cNvSpPr/>
                <p:nvPr/>
              </p:nvSpPr>
              <p:spPr>
                <a:xfrm>
                  <a:off x="2238374" y="3343152"/>
                  <a:ext cx="815191" cy="8151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stomach-ache_10665">
                  <a:extLst>
                    <a:ext uri="{FF2B5EF4-FFF2-40B4-BE49-F238E27FC236}">
                      <a16:creationId xmlns:a16="http://schemas.microsoft.com/office/drawing/2014/main" id="{ACD9613D-91DA-42DF-808B-834854DE8462}"/>
                    </a:ext>
                  </a:extLst>
                </p:cNvPr>
                <p:cNvSpPr/>
                <p:nvPr/>
              </p:nvSpPr>
              <p:spPr>
                <a:xfrm>
                  <a:off x="2399488" y="3441700"/>
                  <a:ext cx="432987" cy="580365"/>
                </a:xfrm>
                <a:custGeom>
                  <a:avLst/>
                  <a:gdLst>
                    <a:gd name="connsiteX0" fmla="*/ 149760 w 444804"/>
                    <a:gd name="connsiteY0" fmla="*/ 323740 h 596204"/>
                    <a:gd name="connsiteX1" fmla="*/ 159803 w 444804"/>
                    <a:gd name="connsiteY1" fmla="*/ 325172 h 596204"/>
                    <a:gd name="connsiteX2" fmla="*/ 158368 w 444804"/>
                    <a:gd name="connsiteY2" fmla="*/ 335202 h 596204"/>
                    <a:gd name="connsiteX3" fmla="*/ 67981 w 444804"/>
                    <a:gd name="connsiteY3" fmla="*/ 419741 h 596204"/>
                    <a:gd name="connsiteX4" fmla="*/ 60090 w 444804"/>
                    <a:gd name="connsiteY4" fmla="*/ 421890 h 596204"/>
                    <a:gd name="connsiteX5" fmla="*/ 55069 w 444804"/>
                    <a:gd name="connsiteY5" fmla="*/ 414726 h 596204"/>
                    <a:gd name="connsiteX6" fmla="*/ 55069 w 444804"/>
                    <a:gd name="connsiteY6" fmla="*/ 403263 h 596204"/>
                    <a:gd name="connsiteX7" fmla="*/ 13462 w 444804"/>
                    <a:gd name="connsiteY7" fmla="*/ 464160 h 596204"/>
                    <a:gd name="connsiteX8" fmla="*/ 7006 w 444804"/>
                    <a:gd name="connsiteY8" fmla="*/ 468458 h 596204"/>
                    <a:gd name="connsiteX9" fmla="*/ 4137 w 444804"/>
                    <a:gd name="connsiteY9" fmla="*/ 467025 h 596204"/>
                    <a:gd name="connsiteX10" fmla="*/ 550 w 444804"/>
                    <a:gd name="connsiteY10" fmla="*/ 457712 h 596204"/>
                    <a:gd name="connsiteX11" fmla="*/ 55786 w 444804"/>
                    <a:gd name="connsiteY11" fmla="*/ 380337 h 596204"/>
                    <a:gd name="connsiteX12" fmla="*/ 64395 w 444804"/>
                    <a:gd name="connsiteY12" fmla="*/ 378188 h 596204"/>
                    <a:gd name="connsiteX13" fmla="*/ 68699 w 444804"/>
                    <a:gd name="connsiteY13" fmla="*/ 385352 h 596204"/>
                    <a:gd name="connsiteX14" fmla="*/ 69416 w 444804"/>
                    <a:gd name="connsiteY14" fmla="*/ 397532 h 596204"/>
                    <a:gd name="connsiteX15" fmla="*/ 149760 w 444804"/>
                    <a:gd name="connsiteY15" fmla="*/ 323740 h 596204"/>
                    <a:gd name="connsiteX16" fmla="*/ 121114 w 444804"/>
                    <a:gd name="connsiteY16" fmla="*/ 292955 h 596204"/>
                    <a:gd name="connsiteX17" fmla="*/ 126850 w 444804"/>
                    <a:gd name="connsiteY17" fmla="*/ 295103 h 596204"/>
                    <a:gd name="connsiteX18" fmla="*/ 124699 w 444804"/>
                    <a:gd name="connsiteY18" fmla="*/ 300117 h 596204"/>
                    <a:gd name="connsiteX19" fmla="*/ 66624 w 444804"/>
                    <a:gd name="connsiteY19" fmla="*/ 336642 h 596204"/>
                    <a:gd name="connsiteX20" fmla="*/ 62322 w 444804"/>
                    <a:gd name="connsiteY20" fmla="*/ 336642 h 596204"/>
                    <a:gd name="connsiteX21" fmla="*/ 60171 w 444804"/>
                    <a:gd name="connsiteY21" fmla="*/ 332345 h 596204"/>
                    <a:gd name="connsiteX22" fmla="*/ 61605 w 444804"/>
                    <a:gd name="connsiteY22" fmla="*/ 325900 h 596204"/>
                    <a:gd name="connsiteX23" fmla="*/ 32209 w 444804"/>
                    <a:gd name="connsiteY23" fmla="*/ 354547 h 596204"/>
                    <a:gd name="connsiteX24" fmla="*/ 28624 w 444804"/>
                    <a:gd name="connsiteY24" fmla="*/ 355979 h 596204"/>
                    <a:gd name="connsiteX25" fmla="*/ 26473 w 444804"/>
                    <a:gd name="connsiteY25" fmla="*/ 355263 h 596204"/>
                    <a:gd name="connsiteX26" fmla="*/ 25756 w 444804"/>
                    <a:gd name="connsiteY26" fmla="*/ 349533 h 596204"/>
                    <a:gd name="connsiteX27" fmla="*/ 64473 w 444804"/>
                    <a:gd name="connsiteY27" fmla="*/ 313724 h 596204"/>
                    <a:gd name="connsiteX28" fmla="*/ 68775 w 444804"/>
                    <a:gd name="connsiteY28" fmla="*/ 313008 h 596204"/>
                    <a:gd name="connsiteX29" fmla="*/ 70926 w 444804"/>
                    <a:gd name="connsiteY29" fmla="*/ 317305 h 596204"/>
                    <a:gd name="connsiteX30" fmla="*/ 69492 w 444804"/>
                    <a:gd name="connsiteY30" fmla="*/ 324467 h 596204"/>
                    <a:gd name="connsiteX31" fmla="*/ 121114 w 444804"/>
                    <a:gd name="connsiteY31" fmla="*/ 292955 h 596204"/>
                    <a:gd name="connsiteX32" fmla="*/ 167717 w 444804"/>
                    <a:gd name="connsiteY32" fmla="*/ 231367 h 596204"/>
                    <a:gd name="connsiteX33" fmla="*/ 167717 w 444804"/>
                    <a:gd name="connsiteY33" fmla="*/ 232083 h 596204"/>
                    <a:gd name="connsiteX34" fmla="*/ 167000 w 444804"/>
                    <a:gd name="connsiteY34" fmla="*/ 234231 h 596204"/>
                    <a:gd name="connsiteX35" fmla="*/ 168434 w 444804"/>
                    <a:gd name="connsiteY35" fmla="*/ 232083 h 596204"/>
                    <a:gd name="connsiteX36" fmla="*/ 167717 w 444804"/>
                    <a:gd name="connsiteY36" fmla="*/ 231367 h 596204"/>
                    <a:gd name="connsiteX37" fmla="*/ 245396 w 444804"/>
                    <a:gd name="connsiteY37" fmla="*/ 118756 h 596204"/>
                    <a:gd name="connsiteX38" fmla="*/ 271738 w 444804"/>
                    <a:gd name="connsiteY38" fmla="*/ 120356 h 596204"/>
                    <a:gd name="connsiteX39" fmla="*/ 439606 w 444804"/>
                    <a:gd name="connsiteY39" fmla="*/ 250704 h 596204"/>
                    <a:gd name="connsiteX40" fmla="*/ 389389 w 444804"/>
                    <a:gd name="connsiteY40" fmla="*/ 280068 h 596204"/>
                    <a:gd name="connsiteX41" fmla="*/ 352085 w 444804"/>
                    <a:gd name="connsiteY41" fmla="*/ 236380 h 596204"/>
                    <a:gd name="connsiteX42" fmla="*/ 369302 w 444804"/>
                    <a:gd name="connsiteY42" fmla="*/ 290811 h 596204"/>
                    <a:gd name="connsiteX43" fmla="*/ 374324 w 444804"/>
                    <a:gd name="connsiteY43" fmla="*/ 318026 h 596204"/>
                    <a:gd name="connsiteX44" fmla="*/ 406606 w 444804"/>
                    <a:gd name="connsiteY44" fmla="*/ 546494 h 596204"/>
                    <a:gd name="connsiteX45" fmla="*/ 329128 w 444804"/>
                    <a:gd name="connsiteY45" fmla="*/ 567980 h 596204"/>
                    <a:gd name="connsiteX46" fmla="*/ 294694 w 444804"/>
                    <a:gd name="connsiteY46" fmla="*/ 367445 h 596204"/>
                    <a:gd name="connsiteX47" fmla="*/ 283216 w 444804"/>
                    <a:gd name="connsiteY47" fmla="*/ 363147 h 596204"/>
                    <a:gd name="connsiteX48" fmla="*/ 256673 w 444804"/>
                    <a:gd name="connsiteY48" fmla="*/ 550791 h 596204"/>
                    <a:gd name="connsiteX49" fmla="*/ 175608 w 444804"/>
                    <a:gd name="connsiteY49" fmla="*/ 550791 h 596204"/>
                    <a:gd name="connsiteX50" fmla="*/ 217934 w 444804"/>
                    <a:gd name="connsiteY50" fmla="*/ 309432 h 596204"/>
                    <a:gd name="connsiteX51" fmla="*/ 281064 w 444804"/>
                    <a:gd name="connsiteY51" fmla="*/ 304419 h 596204"/>
                    <a:gd name="connsiteX52" fmla="*/ 319802 w 444804"/>
                    <a:gd name="connsiteY52" fmla="*/ 264312 h 596204"/>
                    <a:gd name="connsiteX53" fmla="*/ 278912 w 444804"/>
                    <a:gd name="connsiteY53" fmla="*/ 224921 h 596204"/>
                    <a:gd name="connsiteX54" fmla="*/ 204304 w 444804"/>
                    <a:gd name="connsiteY54" fmla="*/ 228502 h 596204"/>
                    <a:gd name="connsiteX55" fmla="*/ 197130 w 444804"/>
                    <a:gd name="connsiteY55" fmla="*/ 219191 h 596204"/>
                    <a:gd name="connsiteX56" fmla="*/ 188521 w 444804"/>
                    <a:gd name="connsiteY56" fmla="*/ 207732 h 596204"/>
                    <a:gd name="connsiteX57" fmla="*/ 172021 w 444804"/>
                    <a:gd name="connsiteY57" fmla="*/ 224205 h 596204"/>
                    <a:gd name="connsiteX58" fmla="*/ 168434 w 444804"/>
                    <a:gd name="connsiteY58" fmla="*/ 229934 h 596204"/>
                    <a:gd name="connsiteX59" fmla="*/ 174173 w 444804"/>
                    <a:gd name="connsiteY59" fmla="*/ 232799 h 596204"/>
                    <a:gd name="connsiteX60" fmla="*/ 194260 w 444804"/>
                    <a:gd name="connsiteY60" fmla="*/ 237096 h 596204"/>
                    <a:gd name="connsiteX61" fmla="*/ 273172 w 444804"/>
                    <a:gd name="connsiteY61" fmla="*/ 234231 h 596204"/>
                    <a:gd name="connsiteX62" fmla="*/ 299716 w 444804"/>
                    <a:gd name="connsiteY62" fmla="*/ 250704 h 596204"/>
                    <a:gd name="connsiteX63" fmla="*/ 304020 w 444804"/>
                    <a:gd name="connsiteY63" fmla="*/ 264312 h 596204"/>
                    <a:gd name="connsiteX64" fmla="*/ 295411 w 444804"/>
                    <a:gd name="connsiteY64" fmla="*/ 282217 h 596204"/>
                    <a:gd name="connsiteX65" fmla="*/ 273172 w 444804"/>
                    <a:gd name="connsiteY65" fmla="*/ 292960 h 596204"/>
                    <a:gd name="connsiteX66" fmla="*/ 115348 w 444804"/>
                    <a:gd name="connsiteY66" fmla="*/ 257150 h 596204"/>
                    <a:gd name="connsiteX67" fmla="*/ 187086 w 444804"/>
                    <a:gd name="connsiteY67" fmla="*/ 137545 h 596204"/>
                    <a:gd name="connsiteX68" fmla="*/ 193543 w 444804"/>
                    <a:gd name="connsiteY68" fmla="*/ 133964 h 596204"/>
                    <a:gd name="connsiteX69" fmla="*/ 245396 w 444804"/>
                    <a:gd name="connsiteY69" fmla="*/ 118756 h 596204"/>
                    <a:gd name="connsiteX70" fmla="*/ 172053 w 444804"/>
                    <a:gd name="connsiteY70" fmla="*/ 0 h 596204"/>
                    <a:gd name="connsiteX71" fmla="*/ 232308 w 444804"/>
                    <a:gd name="connsiteY71" fmla="*/ 60140 h 596204"/>
                    <a:gd name="connsiteX72" fmla="*/ 172053 w 444804"/>
                    <a:gd name="connsiteY72" fmla="*/ 120280 h 596204"/>
                    <a:gd name="connsiteX73" fmla="*/ 111798 w 444804"/>
                    <a:gd name="connsiteY73" fmla="*/ 60140 h 596204"/>
                    <a:gd name="connsiteX74" fmla="*/ 172053 w 444804"/>
                    <a:gd name="connsiteY74" fmla="*/ 0 h 59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4804" h="596204">
                      <a:moveTo>
                        <a:pt x="149760" y="323740"/>
                      </a:moveTo>
                      <a:cubicBezTo>
                        <a:pt x="152629" y="321590"/>
                        <a:pt x="157651" y="322307"/>
                        <a:pt x="159803" y="325172"/>
                      </a:cubicBezTo>
                      <a:cubicBezTo>
                        <a:pt x="162672" y="328755"/>
                        <a:pt x="161955" y="333053"/>
                        <a:pt x="158368" y="335202"/>
                      </a:cubicBezTo>
                      <a:cubicBezTo>
                        <a:pt x="122500" y="362427"/>
                        <a:pt x="90937" y="394666"/>
                        <a:pt x="67981" y="419741"/>
                      </a:cubicBezTo>
                      <a:cubicBezTo>
                        <a:pt x="65829" y="422607"/>
                        <a:pt x="62960" y="423323"/>
                        <a:pt x="60090" y="421890"/>
                      </a:cubicBezTo>
                      <a:cubicBezTo>
                        <a:pt x="57221" y="421174"/>
                        <a:pt x="55069" y="418308"/>
                        <a:pt x="55069" y="414726"/>
                      </a:cubicBezTo>
                      <a:cubicBezTo>
                        <a:pt x="55069" y="411144"/>
                        <a:pt x="55069" y="407562"/>
                        <a:pt x="55069" y="403263"/>
                      </a:cubicBezTo>
                      <a:cubicBezTo>
                        <a:pt x="37852" y="422607"/>
                        <a:pt x="24223" y="443383"/>
                        <a:pt x="13462" y="464160"/>
                      </a:cubicBezTo>
                      <a:cubicBezTo>
                        <a:pt x="12745" y="466309"/>
                        <a:pt x="9876" y="468458"/>
                        <a:pt x="7006" y="468458"/>
                      </a:cubicBezTo>
                      <a:cubicBezTo>
                        <a:pt x="6289" y="468458"/>
                        <a:pt x="4854" y="467742"/>
                        <a:pt x="4137" y="467025"/>
                      </a:cubicBezTo>
                      <a:cubicBezTo>
                        <a:pt x="550" y="465593"/>
                        <a:pt x="-885" y="461294"/>
                        <a:pt x="550" y="457712"/>
                      </a:cubicBezTo>
                      <a:cubicBezTo>
                        <a:pt x="14180" y="431204"/>
                        <a:pt x="32831" y="403980"/>
                        <a:pt x="55786" y="380337"/>
                      </a:cubicBezTo>
                      <a:cubicBezTo>
                        <a:pt x="57938" y="377472"/>
                        <a:pt x="61525" y="377472"/>
                        <a:pt x="64395" y="378188"/>
                      </a:cubicBezTo>
                      <a:cubicBezTo>
                        <a:pt x="67264" y="379621"/>
                        <a:pt x="68699" y="381770"/>
                        <a:pt x="68699" y="385352"/>
                      </a:cubicBezTo>
                      <a:cubicBezTo>
                        <a:pt x="68699" y="388935"/>
                        <a:pt x="68699" y="393233"/>
                        <a:pt x="69416" y="397532"/>
                      </a:cubicBezTo>
                      <a:cubicBezTo>
                        <a:pt x="90937" y="373890"/>
                        <a:pt x="118196" y="347382"/>
                        <a:pt x="149760" y="323740"/>
                      </a:cubicBezTo>
                      <a:close/>
                      <a:moveTo>
                        <a:pt x="121114" y="292955"/>
                      </a:moveTo>
                      <a:cubicBezTo>
                        <a:pt x="123265" y="292239"/>
                        <a:pt x="126133" y="292955"/>
                        <a:pt x="126850" y="295103"/>
                      </a:cubicBezTo>
                      <a:cubicBezTo>
                        <a:pt x="127567" y="296536"/>
                        <a:pt x="126850" y="299401"/>
                        <a:pt x="124699" y="300117"/>
                      </a:cubicBezTo>
                      <a:cubicBezTo>
                        <a:pt x="102473" y="310859"/>
                        <a:pt x="81681" y="325183"/>
                        <a:pt x="66624" y="336642"/>
                      </a:cubicBezTo>
                      <a:cubicBezTo>
                        <a:pt x="65190" y="337358"/>
                        <a:pt x="63756" y="337358"/>
                        <a:pt x="62322" y="336642"/>
                      </a:cubicBezTo>
                      <a:cubicBezTo>
                        <a:pt x="60888" y="335926"/>
                        <a:pt x="60171" y="334494"/>
                        <a:pt x="60171" y="332345"/>
                      </a:cubicBezTo>
                      <a:cubicBezTo>
                        <a:pt x="60888" y="330197"/>
                        <a:pt x="60888" y="328048"/>
                        <a:pt x="61605" y="325900"/>
                      </a:cubicBezTo>
                      <a:cubicBezTo>
                        <a:pt x="50133" y="334494"/>
                        <a:pt x="40096" y="344520"/>
                        <a:pt x="32209" y="354547"/>
                      </a:cubicBezTo>
                      <a:cubicBezTo>
                        <a:pt x="31492" y="355979"/>
                        <a:pt x="30058" y="356695"/>
                        <a:pt x="28624" y="355979"/>
                      </a:cubicBezTo>
                      <a:cubicBezTo>
                        <a:pt x="27907" y="355979"/>
                        <a:pt x="27190" y="355979"/>
                        <a:pt x="26473" y="355263"/>
                      </a:cubicBezTo>
                      <a:cubicBezTo>
                        <a:pt x="25039" y="353831"/>
                        <a:pt x="24322" y="351682"/>
                        <a:pt x="25756" y="349533"/>
                      </a:cubicBezTo>
                      <a:cubicBezTo>
                        <a:pt x="35794" y="336642"/>
                        <a:pt x="49417" y="324467"/>
                        <a:pt x="64473" y="313724"/>
                      </a:cubicBezTo>
                      <a:cubicBezTo>
                        <a:pt x="65907" y="312292"/>
                        <a:pt x="67341" y="312292"/>
                        <a:pt x="68775" y="313008"/>
                      </a:cubicBezTo>
                      <a:cubicBezTo>
                        <a:pt x="70209" y="314440"/>
                        <a:pt x="70926" y="315873"/>
                        <a:pt x="70926" y="317305"/>
                      </a:cubicBezTo>
                      <a:cubicBezTo>
                        <a:pt x="70209" y="319454"/>
                        <a:pt x="70209" y="322319"/>
                        <a:pt x="69492" y="324467"/>
                      </a:cubicBezTo>
                      <a:cubicBezTo>
                        <a:pt x="83832" y="313724"/>
                        <a:pt x="101756" y="302265"/>
                        <a:pt x="121114" y="292955"/>
                      </a:cubicBezTo>
                      <a:close/>
                      <a:moveTo>
                        <a:pt x="167717" y="231367"/>
                      </a:moveTo>
                      <a:cubicBezTo>
                        <a:pt x="167717" y="232083"/>
                        <a:pt x="167717" y="232083"/>
                        <a:pt x="167717" y="232083"/>
                      </a:cubicBezTo>
                      <a:cubicBezTo>
                        <a:pt x="167717" y="232799"/>
                        <a:pt x="167717" y="233515"/>
                        <a:pt x="167000" y="234231"/>
                      </a:cubicBezTo>
                      <a:cubicBezTo>
                        <a:pt x="167717" y="232799"/>
                        <a:pt x="167717" y="232083"/>
                        <a:pt x="168434" y="232083"/>
                      </a:cubicBezTo>
                      <a:cubicBezTo>
                        <a:pt x="167717" y="232083"/>
                        <a:pt x="167717" y="231367"/>
                        <a:pt x="167717" y="231367"/>
                      </a:cubicBezTo>
                      <a:close/>
                      <a:moveTo>
                        <a:pt x="245396" y="118756"/>
                      </a:moveTo>
                      <a:cubicBezTo>
                        <a:pt x="254252" y="117939"/>
                        <a:pt x="263308" y="118208"/>
                        <a:pt x="271738" y="120356"/>
                      </a:cubicBezTo>
                      <a:cubicBezTo>
                        <a:pt x="340607" y="146139"/>
                        <a:pt x="397997" y="188395"/>
                        <a:pt x="439606" y="250704"/>
                      </a:cubicBezTo>
                      <a:cubicBezTo>
                        <a:pt x="461127" y="282217"/>
                        <a:pt x="410193" y="311581"/>
                        <a:pt x="389389" y="280068"/>
                      </a:cubicBezTo>
                      <a:cubicBezTo>
                        <a:pt x="377911" y="263595"/>
                        <a:pt x="365715" y="249272"/>
                        <a:pt x="352085" y="236380"/>
                      </a:cubicBezTo>
                      <a:cubicBezTo>
                        <a:pt x="359259" y="253569"/>
                        <a:pt x="364998" y="271474"/>
                        <a:pt x="369302" y="290811"/>
                      </a:cubicBezTo>
                      <a:cubicBezTo>
                        <a:pt x="370019" y="294392"/>
                        <a:pt x="374324" y="311581"/>
                        <a:pt x="374324" y="318026"/>
                      </a:cubicBezTo>
                      <a:cubicBezTo>
                        <a:pt x="374324" y="396092"/>
                        <a:pt x="384367" y="471293"/>
                        <a:pt x="406606" y="546494"/>
                      </a:cubicBezTo>
                      <a:cubicBezTo>
                        <a:pt x="421671" y="596628"/>
                        <a:pt x="344194" y="617397"/>
                        <a:pt x="329128" y="567980"/>
                      </a:cubicBezTo>
                      <a:cubicBezTo>
                        <a:pt x="309042" y="502090"/>
                        <a:pt x="298998" y="435483"/>
                        <a:pt x="294694" y="367445"/>
                      </a:cubicBezTo>
                      <a:cubicBezTo>
                        <a:pt x="291107" y="366012"/>
                        <a:pt x="286803" y="364580"/>
                        <a:pt x="283216" y="363147"/>
                      </a:cubicBezTo>
                      <a:cubicBezTo>
                        <a:pt x="261694" y="424024"/>
                        <a:pt x="253803" y="486333"/>
                        <a:pt x="256673" y="550791"/>
                      </a:cubicBezTo>
                      <a:cubicBezTo>
                        <a:pt x="258825" y="603073"/>
                        <a:pt x="178478" y="603073"/>
                        <a:pt x="175608" y="550791"/>
                      </a:cubicBezTo>
                      <a:cubicBezTo>
                        <a:pt x="172021" y="466280"/>
                        <a:pt x="187086" y="387498"/>
                        <a:pt x="217934" y="309432"/>
                      </a:cubicBezTo>
                      <a:cubicBezTo>
                        <a:pt x="240890" y="308716"/>
                        <a:pt x="262412" y="306567"/>
                        <a:pt x="281064" y="304419"/>
                      </a:cubicBezTo>
                      <a:cubicBezTo>
                        <a:pt x="304737" y="300838"/>
                        <a:pt x="319802" y="285798"/>
                        <a:pt x="319802" y="264312"/>
                      </a:cubicBezTo>
                      <a:cubicBezTo>
                        <a:pt x="319802" y="244974"/>
                        <a:pt x="301150" y="222056"/>
                        <a:pt x="278912" y="224921"/>
                      </a:cubicBezTo>
                      <a:cubicBezTo>
                        <a:pt x="248781" y="228502"/>
                        <a:pt x="225825" y="229934"/>
                        <a:pt x="204304" y="228502"/>
                      </a:cubicBezTo>
                      <a:cubicBezTo>
                        <a:pt x="202151" y="225637"/>
                        <a:pt x="199282" y="222056"/>
                        <a:pt x="197130" y="219191"/>
                      </a:cubicBezTo>
                      <a:cubicBezTo>
                        <a:pt x="193543" y="215610"/>
                        <a:pt x="190673" y="211313"/>
                        <a:pt x="188521" y="207732"/>
                      </a:cubicBezTo>
                      <a:cubicBezTo>
                        <a:pt x="182065" y="212746"/>
                        <a:pt x="177043" y="217759"/>
                        <a:pt x="172021" y="224205"/>
                      </a:cubicBezTo>
                      <a:cubicBezTo>
                        <a:pt x="169869" y="226353"/>
                        <a:pt x="169152" y="228502"/>
                        <a:pt x="168434" y="229934"/>
                      </a:cubicBezTo>
                      <a:cubicBezTo>
                        <a:pt x="169869" y="231367"/>
                        <a:pt x="170586" y="231367"/>
                        <a:pt x="174173" y="232799"/>
                      </a:cubicBezTo>
                      <a:cubicBezTo>
                        <a:pt x="180630" y="234948"/>
                        <a:pt x="187804" y="236380"/>
                        <a:pt x="194260" y="237096"/>
                      </a:cubicBezTo>
                      <a:cubicBezTo>
                        <a:pt x="220803" y="239245"/>
                        <a:pt x="247347" y="237096"/>
                        <a:pt x="273172" y="234231"/>
                      </a:cubicBezTo>
                      <a:cubicBezTo>
                        <a:pt x="284651" y="232799"/>
                        <a:pt x="294694" y="240677"/>
                        <a:pt x="299716" y="250704"/>
                      </a:cubicBezTo>
                      <a:cubicBezTo>
                        <a:pt x="301868" y="255001"/>
                        <a:pt x="304020" y="260015"/>
                        <a:pt x="304020" y="264312"/>
                      </a:cubicBezTo>
                      <a:cubicBezTo>
                        <a:pt x="304020" y="272906"/>
                        <a:pt x="299716" y="278636"/>
                        <a:pt x="295411" y="282217"/>
                      </a:cubicBezTo>
                      <a:cubicBezTo>
                        <a:pt x="289672" y="287946"/>
                        <a:pt x="281781" y="291527"/>
                        <a:pt x="273172" y="292960"/>
                      </a:cubicBezTo>
                      <a:cubicBezTo>
                        <a:pt x="226542" y="298689"/>
                        <a:pt x="142608" y="308000"/>
                        <a:pt x="115348" y="257150"/>
                      </a:cubicBezTo>
                      <a:cubicBezTo>
                        <a:pt x="88087" y="205584"/>
                        <a:pt x="149782" y="160463"/>
                        <a:pt x="187086" y="137545"/>
                      </a:cubicBezTo>
                      <a:cubicBezTo>
                        <a:pt x="189238" y="136112"/>
                        <a:pt x="191391" y="134680"/>
                        <a:pt x="193543" y="133964"/>
                      </a:cubicBezTo>
                      <a:cubicBezTo>
                        <a:pt x="194081" y="133427"/>
                        <a:pt x="218831" y="121207"/>
                        <a:pt x="245396" y="118756"/>
                      </a:cubicBezTo>
                      <a:close/>
                      <a:moveTo>
                        <a:pt x="172053" y="0"/>
                      </a:moveTo>
                      <a:cubicBezTo>
                        <a:pt x="205331" y="0"/>
                        <a:pt x="232308" y="26926"/>
                        <a:pt x="232308" y="60140"/>
                      </a:cubicBezTo>
                      <a:cubicBezTo>
                        <a:pt x="232308" y="93354"/>
                        <a:pt x="205331" y="120280"/>
                        <a:pt x="172053" y="120280"/>
                      </a:cubicBezTo>
                      <a:cubicBezTo>
                        <a:pt x="138775" y="120280"/>
                        <a:pt x="111798" y="93354"/>
                        <a:pt x="111798" y="60140"/>
                      </a:cubicBezTo>
                      <a:cubicBezTo>
                        <a:pt x="111798" y="26926"/>
                        <a:pt x="138775" y="0"/>
                        <a:pt x="1720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文本框 35">
                <a:extLst>
                  <a:ext uri="{FF2B5EF4-FFF2-40B4-BE49-F238E27FC236}">
                    <a16:creationId xmlns:a16="http://schemas.microsoft.com/office/drawing/2014/main" id="{FDC27074-7364-4CEC-8EFF-51145491ABA1}"/>
                  </a:ext>
                </a:extLst>
              </p:cNvPr>
              <p:cNvSpPr txBox="1"/>
              <p:nvPr/>
            </p:nvSpPr>
            <p:spPr>
              <a:xfrm>
                <a:off x="2406294" y="4010066"/>
                <a:ext cx="586946" cy="307777"/>
              </a:xfrm>
              <a:prstGeom prst="rect">
                <a:avLst/>
              </a:prstGeom>
              <a:noFill/>
            </p:spPr>
            <p:txBody>
              <a:bodyPr wrap="square">
                <a:spAutoFit/>
              </a:bodyPr>
              <a:lstStyle/>
              <a:p>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腹痛</a:t>
                </a:r>
                <a:endParaRPr lang="zh-CN" altLang="en-US" sz="1400" dirty="0"/>
              </a:p>
            </p:txBody>
          </p:sp>
        </p:grpSp>
        <p:grpSp>
          <p:nvGrpSpPr>
            <p:cNvPr id="38" name="组合 37">
              <a:extLst>
                <a:ext uri="{FF2B5EF4-FFF2-40B4-BE49-F238E27FC236}">
                  <a16:creationId xmlns:a16="http://schemas.microsoft.com/office/drawing/2014/main" id="{35AB57D3-305A-4446-81F7-003B66223F8E}"/>
                </a:ext>
              </a:extLst>
            </p:cNvPr>
            <p:cNvGrpSpPr/>
            <p:nvPr/>
          </p:nvGrpSpPr>
          <p:grpSpPr>
            <a:xfrm>
              <a:off x="3116986" y="3117247"/>
              <a:ext cx="815191" cy="1099980"/>
              <a:chOff x="3186567" y="3217863"/>
              <a:chExt cx="815191" cy="1099980"/>
            </a:xfrm>
          </p:grpSpPr>
          <p:grpSp>
            <p:nvGrpSpPr>
              <p:cNvPr id="31" name="组合 30">
                <a:extLst>
                  <a:ext uri="{FF2B5EF4-FFF2-40B4-BE49-F238E27FC236}">
                    <a16:creationId xmlns:a16="http://schemas.microsoft.com/office/drawing/2014/main" id="{CF1C7E9D-D1F6-4A9F-A663-3F9540BEDDD1}"/>
                  </a:ext>
                </a:extLst>
              </p:cNvPr>
              <p:cNvGrpSpPr/>
              <p:nvPr/>
            </p:nvGrpSpPr>
            <p:grpSpPr>
              <a:xfrm>
                <a:off x="3186567" y="3217863"/>
                <a:ext cx="815191" cy="815191"/>
                <a:chOff x="3259618" y="3343152"/>
                <a:chExt cx="815191" cy="815191"/>
              </a:xfrm>
            </p:grpSpPr>
            <p:sp>
              <p:nvSpPr>
                <p:cNvPr id="29" name="椭圆 28">
                  <a:extLst>
                    <a:ext uri="{FF2B5EF4-FFF2-40B4-BE49-F238E27FC236}">
                      <a16:creationId xmlns:a16="http://schemas.microsoft.com/office/drawing/2014/main" id="{5911F3E9-26BD-4BD9-9707-251C0B87FD52}"/>
                    </a:ext>
                  </a:extLst>
                </p:cNvPr>
                <p:cNvSpPr/>
                <p:nvPr/>
              </p:nvSpPr>
              <p:spPr>
                <a:xfrm>
                  <a:off x="3259618" y="3343152"/>
                  <a:ext cx="815191" cy="81519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7" name="wc_174425">
                  <a:extLst>
                    <a:ext uri="{FF2B5EF4-FFF2-40B4-BE49-F238E27FC236}">
                      <a16:creationId xmlns:a16="http://schemas.microsoft.com/office/drawing/2014/main" id="{7EC5DF28-B4E4-4A46-9BB8-0885C7F815D5}"/>
                    </a:ext>
                  </a:extLst>
                </p:cNvPr>
                <p:cNvSpPr/>
                <p:nvPr/>
              </p:nvSpPr>
              <p:spPr>
                <a:xfrm>
                  <a:off x="3434566" y="3450555"/>
                  <a:ext cx="456492" cy="550896"/>
                </a:xfrm>
                <a:custGeom>
                  <a:avLst/>
                  <a:gdLst>
                    <a:gd name="connsiteX0" fmla="*/ 346152 w 503103"/>
                    <a:gd name="connsiteY0" fmla="*/ 166521 h 607145"/>
                    <a:gd name="connsiteX1" fmla="*/ 313934 w 503103"/>
                    <a:gd name="connsiteY1" fmla="*/ 198687 h 607145"/>
                    <a:gd name="connsiteX2" fmla="*/ 313934 w 503103"/>
                    <a:gd name="connsiteY2" fmla="*/ 342305 h 607145"/>
                    <a:gd name="connsiteX3" fmla="*/ 345265 w 503103"/>
                    <a:gd name="connsiteY3" fmla="*/ 369651 h 607145"/>
                    <a:gd name="connsiteX4" fmla="*/ 348517 w 503103"/>
                    <a:gd name="connsiteY4" fmla="*/ 375947 h 607145"/>
                    <a:gd name="connsiteX5" fmla="*/ 366448 w 503103"/>
                    <a:gd name="connsiteY5" fmla="*/ 533336 h 607145"/>
                    <a:gd name="connsiteX6" fmla="*/ 363591 w 503103"/>
                    <a:gd name="connsiteY6" fmla="*/ 541402 h 607145"/>
                    <a:gd name="connsiteX7" fmla="*/ 345462 w 503103"/>
                    <a:gd name="connsiteY7" fmla="*/ 559502 h 607145"/>
                    <a:gd name="connsiteX8" fmla="*/ 345462 w 503103"/>
                    <a:gd name="connsiteY8" fmla="*/ 566584 h 607145"/>
                    <a:gd name="connsiteX9" fmla="*/ 451870 w 503103"/>
                    <a:gd name="connsiteY9" fmla="*/ 566584 h 607145"/>
                    <a:gd name="connsiteX10" fmla="*/ 451870 w 503103"/>
                    <a:gd name="connsiteY10" fmla="*/ 559502 h 607145"/>
                    <a:gd name="connsiteX11" fmla="*/ 433741 w 503103"/>
                    <a:gd name="connsiteY11" fmla="*/ 541402 h 607145"/>
                    <a:gd name="connsiteX12" fmla="*/ 430884 w 503103"/>
                    <a:gd name="connsiteY12" fmla="*/ 533336 h 607145"/>
                    <a:gd name="connsiteX13" fmla="*/ 448815 w 503103"/>
                    <a:gd name="connsiteY13" fmla="*/ 375947 h 607145"/>
                    <a:gd name="connsiteX14" fmla="*/ 452067 w 503103"/>
                    <a:gd name="connsiteY14" fmla="*/ 369651 h 607145"/>
                    <a:gd name="connsiteX15" fmla="*/ 483398 w 503103"/>
                    <a:gd name="connsiteY15" fmla="*/ 342305 h 607145"/>
                    <a:gd name="connsiteX16" fmla="*/ 483398 w 503103"/>
                    <a:gd name="connsiteY16" fmla="*/ 198687 h 607145"/>
                    <a:gd name="connsiteX17" fmla="*/ 451180 w 503103"/>
                    <a:gd name="connsiteY17" fmla="*/ 166521 h 607145"/>
                    <a:gd name="connsiteX18" fmla="*/ 79172 w 503103"/>
                    <a:gd name="connsiteY18" fmla="*/ 166521 h 607145"/>
                    <a:gd name="connsiteX19" fmla="*/ 47151 w 503103"/>
                    <a:gd name="connsiteY19" fmla="*/ 195244 h 607145"/>
                    <a:gd name="connsiteX20" fmla="*/ 20845 w 503103"/>
                    <a:gd name="connsiteY20" fmla="*/ 440673 h 607145"/>
                    <a:gd name="connsiteX21" fmla="*/ 62423 w 503103"/>
                    <a:gd name="connsiteY21" fmla="*/ 440673 h 607145"/>
                    <a:gd name="connsiteX22" fmla="*/ 72177 w 503103"/>
                    <a:gd name="connsiteY22" fmla="*/ 449329 h 607145"/>
                    <a:gd name="connsiteX23" fmla="*/ 82719 w 503103"/>
                    <a:gd name="connsiteY23" fmla="*/ 533237 h 607145"/>
                    <a:gd name="connsiteX24" fmla="*/ 78384 w 503103"/>
                    <a:gd name="connsiteY24" fmla="*/ 542681 h 607145"/>
                    <a:gd name="connsiteX25" fmla="*/ 51191 w 503103"/>
                    <a:gd name="connsiteY25" fmla="*/ 560682 h 607145"/>
                    <a:gd name="connsiteX26" fmla="*/ 51191 w 503103"/>
                    <a:gd name="connsiteY26" fmla="*/ 566584 h 607145"/>
                    <a:gd name="connsiteX27" fmla="*/ 157599 w 503103"/>
                    <a:gd name="connsiteY27" fmla="*/ 566584 h 607145"/>
                    <a:gd name="connsiteX28" fmla="*/ 157599 w 503103"/>
                    <a:gd name="connsiteY28" fmla="*/ 560682 h 607145"/>
                    <a:gd name="connsiteX29" fmla="*/ 130504 w 503103"/>
                    <a:gd name="connsiteY29" fmla="*/ 542681 h 607145"/>
                    <a:gd name="connsiteX30" fmla="*/ 126169 w 503103"/>
                    <a:gd name="connsiteY30" fmla="*/ 533237 h 607145"/>
                    <a:gd name="connsiteX31" fmla="*/ 136711 w 503103"/>
                    <a:gd name="connsiteY31" fmla="*/ 449329 h 607145"/>
                    <a:gd name="connsiteX32" fmla="*/ 146465 w 503103"/>
                    <a:gd name="connsiteY32" fmla="*/ 440673 h 607145"/>
                    <a:gd name="connsiteX33" fmla="*/ 188043 w 503103"/>
                    <a:gd name="connsiteY33" fmla="*/ 440673 h 607145"/>
                    <a:gd name="connsiteX34" fmla="*/ 161737 w 503103"/>
                    <a:gd name="connsiteY34" fmla="*/ 195244 h 607145"/>
                    <a:gd name="connsiteX35" fmla="*/ 129716 w 503103"/>
                    <a:gd name="connsiteY35" fmla="*/ 166521 h 607145"/>
                    <a:gd name="connsiteX36" fmla="*/ 346152 w 503103"/>
                    <a:gd name="connsiteY36" fmla="*/ 146847 h 607145"/>
                    <a:gd name="connsiteX37" fmla="*/ 451180 w 503103"/>
                    <a:gd name="connsiteY37" fmla="*/ 146847 h 607145"/>
                    <a:gd name="connsiteX38" fmla="*/ 503103 w 503103"/>
                    <a:gd name="connsiteY38" fmla="*/ 198687 h 607145"/>
                    <a:gd name="connsiteX39" fmla="*/ 503103 w 503103"/>
                    <a:gd name="connsiteY39" fmla="*/ 346731 h 607145"/>
                    <a:gd name="connsiteX40" fmla="*/ 499753 w 503103"/>
                    <a:gd name="connsiteY40" fmla="*/ 354207 h 607145"/>
                    <a:gd name="connsiteX41" fmla="*/ 467929 w 503103"/>
                    <a:gd name="connsiteY41" fmla="*/ 381947 h 607145"/>
                    <a:gd name="connsiteX42" fmla="*/ 450983 w 503103"/>
                    <a:gd name="connsiteY42" fmla="*/ 530877 h 607145"/>
                    <a:gd name="connsiteX43" fmla="*/ 468718 w 503103"/>
                    <a:gd name="connsiteY43" fmla="*/ 548485 h 607145"/>
                    <a:gd name="connsiteX44" fmla="*/ 471575 w 503103"/>
                    <a:gd name="connsiteY44" fmla="*/ 555469 h 607145"/>
                    <a:gd name="connsiteX45" fmla="*/ 471575 w 503103"/>
                    <a:gd name="connsiteY45" fmla="*/ 576421 h 607145"/>
                    <a:gd name="connsiteX46" fmla="*/ 461722 w 503103"/>
                    <a:gd name="connsiteY46" fmla="*/ 586258 h 607145"/>
                    <a:gd name="connsiteX47" fmla="*/ 335610 w 503103"/>
                    <a:gd name="connsiteY47" fmla="*/ 586258 h 607145"/>
                    <a:gd name="connsiteX48" fmla="*/ 325757 w 503103"/>
                    <a:gd name="connsiteY48" fmla="*/ 576421 h 607145"/>
                    <a:gd name="connsiteX49" fmla="*/ 325757 w 503103"/>
                    <a:gd name="connsiteY49" fmla="*/ 555469 h 607145"/>
                    <a:gd name="connsiteX50" fmla="*/ 328614 w 503103"/>
                    <a:gd name="connsiteY50" fmla="*/ 548485 h 607145"/>
                    <a:gd name="connsiteX51" fmla="*/ 346349 w 503103"/>
                    <a:gd name="connsiteY51" fmla="*/ 530877 h 607145"/>
                    <a:gd name="connsiteX52" fmla="*/ 329403 w 503103"/>
                    <a:gd name="connsiteY52" fmla="*/ 381947 h 607145"/>
                    <a:gd name="connsiteX53" fmla="*/ 297579 w 503103"/>
                    <a:gd name="connsiteY53" fmla="*/ 354207 h 607145"/>
                    <a:gd name="connsiteX54" fmla="*/ 294229 w 503103"/>
                    <a:gd name="connsiteY54" fmla="*/ 346731 h 607145"/>
                    <a:gd name="connsiteX55" fmla="*/ 294229 w 503103"/>
                    <a:gd name="connsiteY55" fmla="*/ 198687 h 607145"/>
                    <a:gd name="connsiteX56" fmla="*/ 346152 w 503103"/>
                    <a:gd name="connsiteY56" fmla="*/ 146847 h 607145"/>
                    <a:gd name="connsiteX57" fmla="*/ 79172 w 503103"/>
                    <a:gd name="connsiteY57" fmla="*/ 146847 h 607145"/>
                    <a:gd name="connsiteX58" fmla="*/ 129716 w 503103"/>
                    <a:gd name="connsiteY58" fmla="*/ 146847 h 607145"/>
                    <a:gd name="connsiteX59" fmla="*/ 181344 w 503103"/>
                    <a:gd name="connsiteY59" fmla="*/ 193178 h 607145"/>
                    <a:gd name="connsiteX60" fmla="*/ 208832 w 503103"/>
                    <a:gd name="connsiteY60" fmla="*/ 449428 h 607145"/>
                    <a:gd name="connsiteX61" fmla="*/ 206369 w 503103"/>
                    <a:gd name="connsiteY61" fmla="*/ 457100 h 607145"/>
                    <a:gd name="connsiteX62" fmla="*/ 198980 w 503103"/>
                    <a:gd name="connsiteY62" fmla="*/ 460347 h 607145"/>
                    <a:gd name="connsiteX63" fmla="*/ 155136 w 503103"/>
                    <a:gd name="connsiteY63" fmla="*/ 460347 h 607145"/>
                    <a:gd name="connsiteX64" fmla="*/ 146465 w 503103"/>
                    <a:gd name="connsiteY64" fmla="*/ 529598 h 607145"/>
                    <a:gd name="connsiteX65" fmla="*/ 172969 w 503103"/>
                    <a:gd name="connsiteY65" fmla="*/ 547206 h 607145"/>
                    <a:gd name="connsiteX66" fmla="*/ 177304 w 503103"/>
                    <a:gd name="connsiteY66" fmla="*/ 555469 h 607145"/>
                    <a:gd name="connsiteX67" fmla="*/ 177304 w 503103"/>
                    <a:gd name="connsiteY67" fmla="*/ 576421 h 607145"/>
                    <a:gd name="connsiteX68" fmla="*/ 167451 w 503103"/>
                    <a:gd name="connsiteY68" fmla="*/ 586258 h 607145"/>
                    <a:gd name="connsiteX69" fmla="*/ 41338 w 503103"/>
                    <a:gd name="connsiteY69" fmla="*/ 586258 h 607145"/>
                    <a:gd name="connsiteX70" fmla="*/ 31485 w 503103"/>
                    <a:gd name="connsiteY70" fmla="*/ 576421 h 607145"/>
                    <a:gd name="connsiteX71" fmla="*/ 31485 w 503103"/>
                    <a:gd name="connsiteY71" fmla="*/ 555469 h 607145"/>
                    <a:gd name="connsiteX72" fmla="*/ 35919 w 503103"/>
                    <a:gd name="connsiteY72" fmla="*/ 547206 h 607145"/>
                    <a:gd name="connsiteX73" fmla="*/ 62324 w 503103"/>
                    <a:gd name="connsiteY73" fmla="*/ 529598 h 607145"/>
                    <a:gd name="connsiteX74" fmla="*/ 53654 w 503103"/>
                    <a:gd name="connsiteY74" fmla="*/ 460347 h 607145"/>
                    <a:gd name="connsiteX75" fmla="*/ 9810 w 503103"/>
                    <a:gd name="connsiteY75" fmla="*/ 460347 h 607145"/>
                    <a:gd name="connsiteX76" fmla="*/ 2519 w 503103"/>
                    <a:gd name="connsiteY76" fmla="*/ 457100 h 607145"/>
                    <a:gd name="connsiteX77" fmla="*/ 56 w 503103"/>
                    <a:gd name="connsiteY77" fmla="*/ 449428 h 607145"/>
                    <a:gd name="connsiteX78" fmla="*/ 27544 w 503103"/>
                    <a:gd name="connsiteY78" fmla="*/ 193178 h 607145"/>
                    <a:gd name="connsiteX79" fmla="*/ 79172 w 503103"/>
                    <a:gd name="connsiteY79" fmla="*/ 146847 h 607145"/>
                    <a:gd name="connsiteX80" fmla="*/ 398666 w 503103"/>
                    <a:gd name="connsiteY80" fmla="*/ 40628 h 607145"/>
                    <a:gd name="connsiteX81" fmla="*/ 366440 w 503103"/>
                    <a:gd name="connsiteY81" fmla="*/ 72789 h 607145"/>
                    <a:gd name="connsiteX82" fmla="*/ 398666 w 503103"/>
                    <a:gd name="connsiteY82" fmla="*/ 104949 h 607145"/>
                    <a:gd name="connsiteX83" fmla="*/ 430892 w 503103"/>
                    <a:gd name="connsiteY83" fmla="*/ 72789 h 607145"/>
                    <a:gd name="connsiteX84" fmla="*/ 398666 w 503103"/>
                    <a:gd name="connsiteY84" fmla="*/ 40628 h 607145"/>
                    <a:gd name="connsiteX85" fmla="*/ 104429 w 503103"/>
                    <a:gd name="connsiteY85" fmla="*/ 40628 h 607145"/>
                    <a:gd name="connsiteX86" fmla="*/ 72315 w 503103"/>
                    <a:gd name="connsiteY86" fmla="*/ 72789 h 607145"/>
                    <a:gd name="connsiteX87" fmla="*/ 104429 w 503103"/>
                    <a:gd name="connsiteY87" fmla="*/ 104949 h 607145"/>
                    <a:gd name="connsiteX88" fmla="*/ 136642 w 503103"/>
                    <a:gd name="connsiteY88" fmla="*/ 72789 h 607145"/>
                    <a:gd name="connsiteX89" fmla="*/ 104429 w 503103"/>
                    <a:gd name="connsiteY89" fmla="*/ 40628 h 607145"/>
                    <a:gd name="connsiteX90" fmla="*/ 398666 w 503103"/>
                    <a:gd name="connsiteY90" fmla="*/ 20958 h 607145"/>
                    <a:gd name="connsiteX91" fmla="*/ 450602 w 503103"/>
                    <a:gd name="connsiteY91" fmla="*/ 72789 h 607145"/>
                    <a:gd name="connsiteX92" fmla="*/ 398666 w 503103"/>
                    <a:gd name="connsiteY92" fmla="*/ 124619 h 607145"/>
                    <a:gd name="connsiteX93" fmla="*/ 346730 w 503103"/>
                    <a:gd name="connsiteY93" fmla="*/ 72789 h 607145"/>
                    <a:gd name="connsiteX94" fmla="*/ 398666 w 503103"/>
                    <a:gd name="connsiteY94" fmla="*/ 20958 h 607145"/>
                    <a:gd name="connsiteX95" fmla="*/ 104429 w 503103"/>
                    <a:gd name="connsiteY95" fmla="*/ 20958 h 607145"/>
                    <a:gd name="connsiteX96" fmla="*/ 156344 w 503103"/>
                    <a:gd name="connsiteY96" fmla="*/ 72789 h 607145"/>
                    <a:gd name="connsiteX97" fmla="*/ 104429 w 503103"/>
                    <a:gd name="connsiteY97" fmla="*/ 124619 h 607145"/>
                    <a:gd name="connsiteX98" fmla="*/ 52613 w 503103"/>
                    <a:gd name="connsiteY98" fmla="*/ 72789 h 607145"/>
                    <a:gd name="connsiteX99" fmla="*/ 104429 w 503103"/>
                    <a:gd name="connsiteY99" fmla="*/ 20958 h 607145"/>
                    <a:gd name="connsiteX100" fmla="*/ 251573 w 503103"/>
                    <a:gd name="connsiteY100" fmla="*/ 0 h 607145"/>
                    <a:gd name="connsiteX101" fmla="*/ 261417 w 503103"/>
                    <a:gd name="connsiteY101" fmla="*/ 9835 h 607145"/>
                    <a:gd name="connsiteX102" fmla="*/ 261417 w 503103"/>
                    <a:gd name="connsiteY102" fmla="*/ 597309 h 607145"/>
                    <a:gd name="connsiteX103" fmla="*/ 251573 w 503103"/>
                    <a:gd name="connsiteY103" fmla="*/ 607145 h 607145"/>
                    <a:gd name="connsiteX104" fmla="*/ 241729 w 503103"/>
                    <a:gd name="connsiteY104" fmla="*/ 597309 h 607145"/>
                    <a:gd name="connsiteX105" fmla="*/ 241729 w 503103"/>
                    <a:gd name="connsiteY105" fmla="*/ 9835 h 607145"/>
                    <a:gd name="connsiteX106" fmla="*/ 251573 w 503103"/>
                    <a:gd name="connsiteY106" fmla="*/ 0 h 60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503103" h="607145">
                      <a:moveTo>
                        <a:pt x="346152" y="166521"/>
                      </a:moveTo>
                      <a:cubicBezTo>
                        <a:pt x="328417" y="166521"/>
                        <a:pt x="313934" y="180981"/>
                        <a:pt x="313934" y="198687"/>
                      </a:cubicBezTo>
                      <a:lnTo>
                        <a:pt x="313934" y="342305"/>
                      </a:lnTo>
                      <a:lnTo>
                        <a:pt x="345265" y="369651"/>
                      </a:lnTo>
                      <a:cubicBezTo>
                        <a:pt x="347039" y="371225"/>
                        <a:pt x="348221" y="373487"/>
                        <a:pt x="348517" y="375947"/>
                      </a:cubicBezTo>
                      <a:lnTo>
                        <a:pt x="366448" y="533336"/>
                      </a:lnTo>
                      <a:cubicBezTo>
                        <a:pt x="366744" y="536287"/>
                        <a:pt x="365758" y="539336"/>
                        <a:pt x="363591" y="541402"/>
                      </a:cubicBezTo>
                      <a:lnTo>
                        <a:pt x="345462" y="559502"/>
                      </a:lnTo>
                      <a:lnTo>
                        <a:pt x="345462" y="566584"/>
                      </a:lnTo>
                      <a:lnTo>
                        <a:pt x="451870" y="566584"/>
                      </a:lnTo>
                      <a:lnTo>
                        <a:pt x="451870" y="559502"/>
                      </a:lnTo>
                      <a:lnTo>
                        <a:pt x="433741" y="541402"/>
                      </a:lnTo>
                      <a:cubicBezTo>
                        <a:pt x="431573" y="539336"/>
                        <a:pt x="430588" y="536287"/>
                        <a:pt x="430884" y="533336"/>
                      </a:cubicBezTo>
                      <a:lnTo>
                        <a:pt x="448815" y="375947"/>
                      </a:lnTo>
                      <a:cubicBezTo>
                        <a:pt x="449111" y="373487"/>
                        <a:pt x="450293" y="371225"/>
                        <a:pt x="452067" y="369651"/>
                      </a:cubicBezTo>
                      <a:lnTo>
                        <a:pt x="483398" y="342305"/>
                      </a:lnTo>
                      <a:lnTo>
                        <a:pt x="483398" y="198687"/>
                      </a:lnTo>
                      <a:cubicBezTo>
                        <a:pt x="483398" y="180981"/>
                        <a:pt x="468915" y="166521"/>
                        <a:pt x="451180" y="166521"/>
                      </a:cubicBezTo>
                      <a:close/>
                      <a:moveTo>
                        <a:pt x="79172" y="166521"/>
                      </a:moveTo>
                      <a:cubicBezTo>
                        <a:pt x="62620" y="166521"/>
                        <a:pt x="48925" y="178915"/>
                        <a:pt x="47151" y="195244"/>
                      </a:cubicBezTo>
                      <a:lnTo>
                        <a:pt x="20845" y="440673"/>
                      </a:lnTo>
                      <a:lnTo>
                        <a:pt x="62423" y="440673"/>
                      </a:lnTo>
                      <a:cubicBezTo>
                        <a:pt x="67349" y="440673"/>
                        <a:pt x="71586" y="444411"/>
                        <a:pt x="72177" y="449329"/>
                      </a:cubicBezTo>
                      <a:lnTo>
                        <a:pt x="82719" y="533237"/>
                      </a:lnTo>
                      <a:cubicBezTo>
                        <a:pt x="83113" y="536975"/>
                        <a:pt x="81438" y="540615"/>
                        <a:pt x="78384" y="542681"/>
                      </a:cubicBezTo>
                      <a:lnTo>
                        <a:pt x="51191" y="560682"/>
                      </a:lnTo>
                      <a:lnTo>
                        <a:pt x="51191" y="566584"/>
                      </a:lnTo>
                      <a:lnTo>
                        <a:pt x="157599" y="566584"/>
                      </a:lnTo>
                      <a:lnTo>
                        <a:pt x="157599" y="560682"/>
                      </a:lnTo>
                      <a:lnTo>
                        <a:pt x="130504" y="542681"/>
                      </a:lnTo>
                      <a:cubicBezTo>
                        <a:pt x="127351" y="540615"/>
                        <a:pt x="125676" y="536975"/>
                        <a:pt x="126169" y="533237"/>
                      </a:cubicBezTo>
                      <a:lnTo>
                        <a:pt x="136711" y="449329"/>
                      </a:lnTo>
                      <a:cubicBezTo>
                        <a:pt x="137302" y="444411"/>
                        <a:pt x="141539" y="440673"/>
                        <a:pt x="146465" y="440673"/>
                      </a:cubicBezTo>
                      <a:lnTo>
                        <a:pt x="188043" y="440673"/>
                      </a:lnTo>
                      <a:lnTo>
                        <a:pt x="161737" y="195244"/>
                      </a:lnTo>
                      <a:cubicBezTo>
                        <a:pt x="159963" y="178915"/>
                        <a:pt x="146170" y="166521"/>
                        <a:pt x="129716" y="166521"/>
                      </a:cubicBezTo>
                      <a:close/>
                      <a:moveTo>
                        <a:pt x="346152" y="146847"/>
                      </a:moveTo>
                      <a:lnTo>
                        <a:pt x="451180" y="146847"/>
                      </a:lnTo>
                      <a:cubicBezTo>
                        <a:pt x="479851" y="146847"/>
                        <a:pt x="503103" y="170160"/>
                        <a:pt x="503103" y="198687"/>
                      </a:cubicBezTo>
                      <a:lnTo>
                        <a:pt x="503103" y="346731"/>
                      </a:lnTo>
                      <a:cubicBezTo>
                        <a:pt x="503103" y="349584"/>
                        <a:pt x="501921" y="352338"/>
                        <a:pt x="499753" y="354207"/>
                      </a:cubicBezTo>
                      <a:lnTo>
                        <a:pt x="467929" y="381947"/>
                      </a:lnTo>
                      <a:lnTo>
                        <a:pt x="450983" y="530877"/>
                      </a:lnTo>
                      <a:lnTo>
                        <a:pt x="468718" y="548485"/>
                      </a:lnTo>
                      <a:cubicBezTo>
                        <a:pt x="470491" y="550354"/>
                        <a:pt x="471575" y="552813"/>
                        <a:pt x="471575" y="555469"/>
                      </a:cubicBezTo>
                      <a:lnTo>
                        <a:pt x="471575" y="576421"/>
                      </a:lnTo>
                      <a:cubicBezTo>
                        <a:pt x="471575" y="581831"/>
                        <a:pt x="467141" y="586258"/>
                        <a:pt x="461722" y="586258"/>
                      </a:cubicBezTo>
                      <a:lnTo>
                        <a:pt x="335610" y="586258"/>
                      </a:lnTo>
                      <a:cubicBezTo>
                        <a:pt x="330191" y="586258"/>
                        <a:pt x="325757" y="581831"/>
                        <a:pt x="325757" y="576421"/>
                      </a:cubicBezTo>
                      <a:lnTo>
                        <a:pt x="325757" y="555469"/>
                      </a:lnTo>
                      <a:cubicBezTo>
                        <a:pt x="325757" y="552813"/>
                        <a:pt x="326841" y="550354"/>
                        <a:pt x="328614" y="548485"/>
                      </a:cubicBezTo>
                      <a:lnTo>
                        <a:pt x="346349" y="530877"/>
                      </a:lnTo>
                      <a:lnTo>
                        <a:pt x="329403" y="381947"/>
                      </a:lnTo>
                      <a:lnTo>
                        <a:pt x="297579" y="354207"/>
                      </a:lnTo>
                      <a:cubicBezTo>
                        <a:pt x="295411" y="352338"/>
                        <a:pt x="294229" y="349584"/>
                        <a:pt x="294229" y="346731"/>
                      </a:cubicBezTo>
                      <a:lnTo>
                        <a:pt x="294229" y="198687"/>
                      </a:lnTo>
                      <a:cubicBezTo>
                        <a:pt x="294229" y="170160"/>
                        <a:pt x="317481" y="146847"/>
                        <a:pt x="346152" y="146847"/>
                      </a:cubicBezTo>
                      <a:close/>
                      <a:moveTo>
                        <a:pt x="79172" y="146847"/>
                      </a:moveTo>
                      <a:lnTo>
                        <a:pt x="129716" y="146847"/>
                      </a:lnTo>
                      <a:cubicBezTo>
                        <a:pt x="156318" y="146847"/>
                        <a:pt x="178486" y="166816"/>
                        <a:pt x="181344" y="193178"/>
                      </a:cubicBezTo>
                      <a:lnTo>
                        <a:pt x="208832" y="449428"/>
                      </a:lnTo>
                      <a:cubicBezTo>
                        <a:pt x="209128" y="452280"/>
                        <a:pt x="208241" y="455035"/>
                        <a:pt x="206369" y="457100"/>
                      </a:cubicBezTo>
                      <a:cubicBezTo>
                        <a:pt x="204497" y="459166"/>
                        <a:pt x="201837" y="460347"/>
                        <a:pt x="198980" y="460347"/>
                      </a:cubicBezTo>
                      <a:lnTo>
                        <a:pt x="155136" y="460347"/>
                      </a:lnTo>
                      <a:lnTo>
                        <a:pt x="146465" y="529598"/>
                      </a:lnTo>
                      <a:lnTo>
                        <a:pt x="172969" y="547206"/>
                      </a:lnTo>
                      <a:cubicBezTo>
                        <a:pt x="175728" y="549075"/>
                        <a:pt x="177304" y="552124"/>
                        <a:pt x="177304" y="555469"/>
                      </a:cubicBezTo>
                      <a:lnTo>
                        <a:pt x="177304" y="576421"/>
                      </a:lnTo>
                      <a:cubicBezTo>
                        <a:pt x="177304" y="581831"/>
                        <a:pt x="172969" y="586258"/>
                        <a:pt x="167451" y="586258"/>
                      </a:cubicBezTo>
                      <a:lnTo>
                        <a:pt x="41338" y="586258"/>
                      </a:lnTo>
                      <a:cubicBezTo>
                        <a:pt x="35919" y="586258"/>
                        <a:pt x="31485" y="581831"/>
                        <a:pt x="31485" y="576421"/>
                      </a:cubicBezTo>
                      <a:lnTo>
                        <a:pt x="31485" y="555469"/>
                      </a:lnTo>
                      <a:cubicBezTo>
                        <a:pt x="31485" y="552124"/>
                        <a:pt x="33160" y="549075"/>
                        <a:pt x="35919" y="547206"/>
                      </a:cubicBezTo>
                      <a:lnTo>
                        <a:pt x="62324" y="529598"/>
                      </a:lnTo>
                      <a:lnTo>
                        <a:pt x="53654" y="460347"/>
                      </a:lnTo>
                      <a:lnTo>
                        <a:pt x="9810" y="460347"/>
                      </a:lnTo>
                      <a:cubicBezTo>
                        <a:pt x="7051" y="460347"/>
                        <a:pt x="4391" y="459166"/>
                        <a:pt x="2519" y="457100"/>
                      </a:cubicBezTo>
                      <a:cubicBezTo>
                        <a:pt x="647" y="455035"/>
                        <a:pt x="-240" y="452280"/>
                        <a:pt x="56" y="449428"/>
                      </a:cubicBezTo>
                      <a:lnTo>
                        <a:pt x="27544" y="193178"/>
                      </a:lnTo>
                      <a:cubicBezTo>
                        <a:pt x="30402" y="166816"/>
                        <a:pt x="52570" y="146847"/>
                        <a:pt x="79172" y="146847"/>
                      </a:cubicBezTo>
                      <a:close/>
                      <a:moveTo>
                        <a:pt x="398666" y="40628"/>
                      </a:moveTo>
                      <a:cubicBezTo>
                        <a:pt x="380927" y="40628"/>
                        <a:pt x="366440" y="55085"/>
                        <a:pt x="366440" y="72789"/>
                      </a:cubicBezTo>
                      <a:cubicBezTo>
                        <a:pt x="366440" y="90492"/>
                        <a:pt x="380927" y="104949"/>
                        <a:pt x="398666" y="104949"/>
                      </a:cubicBezTo>
                      <a:cubicBezTo>
                        <a:pt x="416405" y="104949"/>
                        <a:pt x="430892" y="90492"/>
                        <a:pt x="430892" y="72789"/>
                      </a:cubicBezTo>
                      <a:cubicBezTo>
                        <a:pt x="430892" y="55085"/>
                        <a:pt x="416405" y="40628"/>
                        <a:pt x="398666" y="40628"/>
                      </a:cubicBezTo>
                      <a:close/>
                      <a:moveTo>
                        <a:pt x="104429" y="40628"/>
                      </a:moveTo>
                      <a:cubicBezTo>
                        <a:pt x="86697" y="40628"/>
                        <a:pt x="72315" y="55085"/>
                        <a:pt x="72315" y="72789"/>
                      </a:cubicBezTo>
                      <a:cubicBezTo>
                        <a:pt x="72315" y="90492"/>
                        <a:pt x="86697" y="104949"/>
                        <a:pt x="104429" y="104949"/>
                      </a:cubicBezTo>
                      <a:cubicBezTo>
                        <a:pt x="122161" y="104949"/>
                        <a:pt x="136642" y="90492"/>
                        <a:pt x="136642" y="72789"/>
                      </a:cubicBezTo>
                      <a:cubicBezTo>
                        <a:pt x="136642" y="55085"/>
                        <a:pt x="122161" y="40628"/>
                        <a:pt x="104429" y="40628"/>
                      </a:cubicBezTo>
                      <a:close/>
                      <a:moveTo>
                        <a:pt x="398666" y="20958"/>
                      </a:moveTo>
                      <a:cubicBezTo>
                        <a:pt x="427246" y="20958"/>
                        <a:pt x="450602" y="44267"/>
                        <a:pt x="450602" y="72789"/>
                      </a:cubicBezTo>
                      <a:cubicBezTo>
                        <a:pt x="450602" y="101310"/>
                        <a:pt x="427246" y="124619"/>
                        <a:pt x="398666" y="124619"/>
                      </a:cubicBezTo>
                      <a:cubicBezTo>
                        <a:pt x="370086" y="124619"/>
                        <a:pt x="346730" y="101310"/>
                        <a:pt x="346730" y="72789"/>
                      </a:cubicBezTo>
                      <a:cubicBezTo>
                        <a:pt x="346730" y="44267"/>
                        <a:pt x="370086" y="20958"/>
                        <a:pt x="398666" y="20958"/>
                      </a:cubicBezTo>
                      <a:close/>
                      <a:moveTo>
                        <a:pt x="104429" y="20958"/>
                      </a:moveTo>
                      <a:cubicBezTo>
                        <a:pt x="133096" y="20958"/>
                        <a:pt x="156344" y="44267"/>
                        <a:pt x="156344" y="72789"/>
                      </a:cubicBezTo>
                      <a:cubicBezTo>
                        <a:pt x="156344" y="101310"/>
                        <a:pt x="133096" y="124619"/>
                        <a:pt x="104429" y="124619"/>
                      </a:cubicBezTo>
                      <a:cubicBezTo>
                        <a:pt x="75861" y="124619"/>
                        <a:pt x="52613" y="101310"/>
                        <a:pt x="52613" y="72789"/>
                      </a:cubicBezTo>
                      <a:cubicBezTo>
                        <a:pt x="52613" y="44267"/>
                        <a:pt x="75861" y="20958"/>
                        <a:pt x="104429" y="20958"/>
                      </a:cubicBezTo>
                      <a:close/>
                      <a:moveTo>
                        <a:pt x="251573" y="0"/>
                      </a:moveTo>
                      <a:cubicBezTo>
                        <a:pt x="256987" y="0"/>
                        <a:pt x="261417" y="4426"/>
                        <a:pt x="261417" y="9835"/>
                      </a:cubicBezTo>
                      <a:lnTo>
                        <a:pt x="261417" y="597309"/>
                      </a:lnTo>
                      <a:cubicBezTo>
                        <a:pt x="261417" y="602817"/>
                        <a:pt x="256987" y="607145"/>
                        <a:pt x="251573" y="607145"/>
                      </a:cubicBezTo>
                      <a:cubicBezTo>
                        <a:pt x="246060" y="607145"/>
                        <a:pt x="241729" y="602817"/>
                        <a:pt x="241729" y="597309"/>
                      </a:cubicBezTo>
                      <a:lnTo>
                        <a:pt x="241729" y="9835"/>
                      </a:lnTo>
                      <a:cubicBezTo>
                        <a:pt x="241729" y="4426"/>
                        <a:pt x="246060" y="0"/>
                        <a:pt x="25157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文本框 36">
                <a:extLst>
                  <a:ext uri="{FF2B5EF4-FFF2-40B4-BE49-F238E27FC236}">
                    <a16:creationId xmlns:a16="http://schemas.microsoft.com/office/drawing/2014/main" id="{59C31B48-7E21-4B6C-9E2B-71E2F31AA27E}"/>
                  </a:ext>
                </a:extLst>
              </p:cNvPr>
              <p:cNvSpPr txBox="1"/>
              <p:nvPr/>
            </p:nvSpPr>
            <p:spPr>
              <a:xfrm>
                <a:off x="3327222" y="4010066"/>
                <a:ext cx="586946" cy="307777"/>
              </a:xfrm>
              <a:prstGeom prst="rect">
                <a:avLst/>
              </a:prstGeom>
              <a:noFill/>
            </p:spPr>
            <p:txBody>
              <a:bodyPr wrap="square">
                <a:spAutoFit/>
              </a:bodyPr>
              <a:lstStyle/>
              <a:p>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腹泻</a:t>
                </a:r>
                <a:endParaRPr lang="zh-CN" altLang="en-US" sz="1400" dirty="0"/>
              </a:p>
            </p:txBody>
          </p:sp>
        </p:grpSp>
        <p:sp>
          <p:nvSpPr>
            <p:cNvPr id="13" name="iconfont-11145-7055654">
              <a:extLst>
                <a:ext uri="{FF2B5EF4-FFF2-40B4-BE49-F238E27FC236}">
                  <a16:creationId xmlns:a16="http://schemas.microsoft.com/office/drawing/2014/main" id="{0879579D-9C77-42C3-AA96-A622865C1005}"/>
                </a:ext>
              </a:extLst>
            </p:cNvPr>
            <p:cNvSpPr/>
            <p:nvPr/>
          </p:nvSpPr>
          <p:spPr>
            <a:xfrm>
              <a:off x="1031708" y="1661892"/>
              <a:ext cx="528156" cy="528156"/>
            </a:xfrm>
            <a:custGeom>
              <a:avLst/>
              <a:gdLst>
                <a:gd name="T0" fmla="*/ 2025 w 11200"/>
                <a:gd name="T1" fmla="*/ 2888 h 11200"/>
                <a:gd name="T2" fmla="*/ 1538 w 11200"/>
                <a:gd name="T3" fmla="*/ 2888 h 11200"/>
                <a:gd name="T4" fmla="*/ 1138 w 11200"/>
                <a:gd name="T5" fmla="*/ 2488 h 11200"/>
                <a:gd name="T6" fmla="*/ 1538 w 11200"/>
                <a:gd name="T7" fmla="*/ 2088 h 11200"/>
                <a:gd name="T8" fmla="*/ 1700 w 11200"/>
                <a:gd name="T9" fmla="*/ 2088 h 11200"/>
                <a:gd name="T10" fmla="*/ 1700 w 11200"/>
                <a:gd name="T11" fmla="*/ 2084 h 11200"/>
                <a:gd name="T12" fmla="*/ 2088 w 11200"/>
                <a:gd name="T13" fmla="*/ 1494 h 11200"/>
                <a:gd name="T14" fmla="*/ 2087 w 11200"/>
                <a:gd name="T15" fmla="*/ 1484 h 11200"/>
                <a:gd name="T16" fmla="*/ 2087 w 11200"/>
                <a:gd name="T17" fmla="*/ 1481 h 11200"/>
                <a:gd name="T18" fmla="*/ 2063 w 11200"/>
                <a:gd name="T19" fmla="*/ 1317 h 11200"/>
                <a:gd name="T20" fmla="*/ 1444 w 11200"/>
                <a:gd name="T21" fmla="*/ 850 h 11200"/>
                <a:gd name="T22" fmla="*/ 804 w 11200"/>
                <a:gd name="T23" fmla="*/ 1425 h 11200"/>
                <a:gd name="T24" fmla="*/ 800 w 11200"/>
                <a:gd name="T25" fmla="*/ 1425 h 11200"/>
                <a:gd name="T26" fmla="*/ 800 w 11200"/>
                <a:gd name="T27" fmla="*/ 10475 h 11200"/>
                <a:gd name="T28" fmla="*/ 9088 w 11200"/>
                <a:gd name="T29" fmla="*/ 10475 h 11200"/>
                <a:gd name="T30" fmla="*/ 9088 w 11200"/>
                <a:gd name="T31" fmla="*/ 2888 h 11200"/>
                <a:gd name="T32" fmla="*/ 2688 w 11200"/>
                <a:gd name="T33" fmla="*/ 2888 h 11200"/>
                <a:gd name="T34" fmla="*/ 2688 w 11200"/>
                <a:gd name="T35" fmla="*/ 2963 h 11200"/>
                <a:gd name="T36" fmla="*/ 2688 w 11200"/>
                <a:gd name="T37" fmla="*/ 2888 h 11200"/>
                <a:gd name="T38" fmla="*/ 2025 w 11200"/>
                <a:gd name="T39" fmla="*/ 2888 h 11200"/>
                <a:gd name="T40" fmla="*/ 2025 w 11200"/>
                <a:gd name="T41" fmla="*/ 2088 h 11200"/>
                <a:gd name="T42" fmla="*/ 2025 w 11200"/>
                <a:gd name="T43" fmla="*/ 2088 h 11200"/>
                <a:gd name="T44" fmla="*/ 9888 w 11200"/>
                <a:gd name="T45" fmla="*/ 2088 h 11200"/>
                <a:gd name="T46" fmla="*/ 10488 w 11200"/>
                <a:gd name="T47" fmla="*/ 1488 h 11200"/>
                <a:gd name="T48" fmla="*/ 9888 w 11200"/>
                <a:gd name="T49" fmla="*/ 888 h 11200"/>
                <a:gd name="T50" fmla="*/ 2753 w 11200"/>
                <a:gd name="T51" fmla="*/ 888 h 11200"/>
                <a:gd name="T52" fmla="*/ 2454 w 11200"/>
                <a:gd name="T53" fmla="*/ 475 h 11200"/>
                <a:gd name="T54" fmla="*/ 2888 w 11200"/>
                <a:gd name="T55" fmla="*/ 1488 h 11200"/>
                <a:gd name="T56" fmla="*/ 2753 w 11200"/>
                <a:gd name="T57" fmla="*/ 2088 h 11200"/>
                <a:gd name="T58" fmla="*/ 2025 w 11200"/>
                <a:gd name="T59" fmla="*/ 2088 h 11200"/>
                <a:gd name="T60" fmla="*/ 9800 w 11200"/>
                <a:gd name="T61" fmla="*/ 11200 h 11200"/>
                <a:gd name="T62" fmla="*/ 0 w 11200"/>
                <a:gd name="T63" fmla="*/ 11200 h 11200"/>
                <a:gd name="T64" fmla="*/ 0 w 11200"/>
                <a:gd name="T65" fmla="*/ 1250 h 11200"/>
                <a:gd name="T66" fmla="*/ 1250 w 11200"/>
                <a:gd name="T67" fmla="*/ 0 h 11200"/>
                <a:gd name="T68" fmla="*/ 9800 w 11200"/>
                <a:gd name="T69" fmla="*/ 0 h 11200"/>
                <a:gd name="T70" fmla="*/ 11200 w 11200"/>
                <a:gd name="T71" fmla="*/ 1400 h 11200"/>
                <a:gd name="T72" fmla="*/ 9800 w 11200"/>
                <a:gd name="T73" fmla="*/ 2800 h 11200"/>
                <a:gd name="T74" fmla="*/ 9800 w 11200"/>
                <a:gd name="T75" fmla="*/ 11200 h 11200"/>
                <a:gd name="T76" fmla="*/ 2100 w 11200"/>
                <a:gd name="T77" fmla="*/ 4163 h 11200"/>
                <a:gd name="T78" fmla="*/ 7738 w 11200"/>
                <a:gd name="T79" fmla="*/ 4163 h 11200"/>
                <a:gd name="T80" fmla="*/ 8138 w 11200"/>
                <a:gd name="T81" fmla="*/ 4563 h 11200"/>
                <a:gd name="T82" fmla="*/ 7738 w 11200"/>
                <a:gd name="T83" fmla="*/ 4963 h 11200"/>
                <a:gd name="T84" fmla="*/ 2100 w 11200"/>
                <a:gd name="T85" fmla="*/ 4963 h 11200"/>
                <a:gd name="T86" fmla="*/ 1700 w 11200"/>
                <a:gd name="T87" fmla="*/ 4563 h 11200"/>
                <a:gd name="T88" fmla="*/ 2100 w 11200"/>
                <a:gd name="T89" fmla="*/ 4163 h 11200"/>
                <a:gd name="T90" fmla="*/ 2100 w 11200"/>
                <a:gd name="T91" fmla="*/ 6175 h 11200"/>
                <a:gd name="T92" fmla="*/ 7738 w 11200"/>
                <a:gd name="T93" fmla="*/ 6175 h 11200"/>
                <a:gd name="T94" fmla="*/ 8138 w 11200"/>
                <a:gd name="T95" fmla="*/ 6575 h 11200"/>
                <a:gd name="T96" fmla="*/ 7738 w 11200"/>
                <a:gd name="T97" fmla="*/ 6975 h 11200"/>
                <a:gd name="T98" fmla="*/ 2100 w 11200"/>
                <a:gd name="T99" fmla="*/ 6975 h 11200"/>
                <a:gd name="T100" fmla="*/ 1700 w 11200"/>
                <a:gd name="T101" fmla="*/ 6575 h 11200"/>
                <a:gd name="T102" fmla="*/ 2100 w 11200"/>
                <a:gd name="T103" fmla="*/ 6175 h 11200"/>
                <a:gd name="T104" fmla="*/ 2100 w 11200"/>
                <a:gd name="T105" fmla="*/ 8188 h 11200"/>
                <a:gd name="T106" fmla="*/ 7738 w 11200"/>
                <a:gd name="T107" fmla="*/ 8188 h 11200"/>
                <a:gd name="T108" fmla="*/ 8138 w 11200"/>
                <a:gd name="T109" fmla="*/ 8588 h 11200"/>
                <a:gd name="T110" fmla="*/ 7738 w 11200"/>
                <a:gd name="T111" fmla="*/ 8988 h 11200"/>
                <a:gd name="T112" fmla="*/ 2100 w 11200"/>
                <a:gd name="T113" fmla="*/ 8988 h 11200"/>
                <a:gd name="T114" fmla="*/ 1700 w 11200"/>
                <a:gd name="T115" fmla="*/ 8588 h 11200"/>
                <a:gd name="T116" fmla="*/ 2100 w 11200"/>
                <a:gd name="T117" fmla="*/ 8188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00" h="11200">
                  <a:moveTo>
                    <a:pt x="2025" y="2888"/>
                  </a:moveTo>
                  <a:lnTo>
                    <a:pt x="1538" y="2888"/>
                  </a:lnTo>
                  <a:cubicBezTo>
                    <a:pt x="1317" y="2888"/>
                    <a:pt x="1138" y="2708"/>
                    <a:pt x="1138" y="2488"/>
                  </a:cubicBezTo>
                  <a:cubicBezTo>
                    <a:pt x="1138" y="2267"/>
                    <a:pt x="1317" y="2088"/>
                    <a:pt x="1538" y="2088"/>
                  </a:cubicBezTo>
                  <a:lnTo>
                    <a:pt x="1700" y="2088"/>
                  </a:lnTo>
                  <a:lnTo>
                    <a:pt x="1700" y="2084"/>
                  </a:lnTo>
                  <a:cubicBezTo>
                    <a:pt x="1928" y="1985"/>
                    <a:pt x="2088" y="1758"/>
                    <a:pt x="2088" y="1494"/>
                  </a:cubicBezTo>
                  <a:cubicBezTo>
                    <a:pt x="2088" y="1491"/>
                    <a:pt x="2087" y="1487"/>
                    <a:pt x="2087" y="1484"/>
                  </a:cubicBezTo>
                  <a:lnTo>
                    <a:pt x="2087" y="1481"/>
                  </a:lnTo>
                  <a:cubicBezTo>
                    <a:pt x="2087" y="1426"/>
                    <a:pt x="2079" y="1371"/>
                    <a:pt x="2063" y="1317"/>
                  </a:cubicBezTo>
                  <a:cubicBezTo>
                    <a:pt x="1986" y="1048"/>
                    <a:pt x="1738" y="850"/>
                    <a:pt x="1444" y="850"/>
                  </a:cubicBezTo>
                  <a:cubicBezTo>
                    <a:pt x="1111" y="850"/>
                    <a:pt x="838" y="1102"/>
                    <a:pt x="804" y="1425"/>
                  </a:cubicBezTo>
                  <a:lnTo>
                    <a:pt x="800" y="1425"/>
                  </a:lnTo>
                  <a:lnTo>
                    <a:pt x="800" y="10475"/>
                  </a:lnTo>
                  <a:lnTo>
                    <a:pt x="9088" y="10475"/>
                  </a:lnTo>
                  <a:lnTo>
                    <a:pt x="9088" y="2888"/>
                  </a:lnTo>
                  <a:lnTo>
                    <a:pt x="2688" y="2888"/>
                  </a:lnTo>
                  <a:lnTo>
                    <a:pt x="2688" y="2963"/>
                  </a:lnTo>
                  <a:lnTo>
                    <a:pt x="2688" y="2888"/>
                  </a:lnTo>
                  <a:lnTo>
                    <a:pt x="2025" y="2888"/>
                  </a:lnTo>
                  <a:close/>
                  <a:moveTo>
                    <a:pt x="2025" y="2088"/>
                  </a:moveTo>
                  <a:lnTo>
                    <a:pt x="2025" y="2088"/>
                  </a:lnTo>
                  <a:lnTo>
                    <a:pt x="9888" y="2088"/>
                  </a:lnTo>
                  <a:cubicBezTo>
                    <a:pt x="10219" y="2088"/>
                    <a:pt x="10488" y="1819"/>
                    <a:pt x="10488" y="1488"/>
                  </a:cubicBezTo>
                  <a:cubicBezTo>
                    <a:pt x="10488" y="1156"/>
                    <a:pt x="10219" y="888"/>
                    <a:pt x="9888" y="888"/>
                  </a:cubicBezTo>
                  <a:lnTo>
                    <a:pt x="2753" y="888"/>
                  </a:lnTo>
                  <a:cubicBezTo>
                    <a:pt x="2679" y="733"/>
                    <a:pt x="2578" y="593"/>
                    <a:pt x="2454" y="475"/>
                  </a:cubicBezTo>
                  <a:cubicBezTo>
                    <a:pt x="2721" y="730"/>
                    <a:pt x="2888" y="1089"/>
                    <a:pt x="2888" y="1488"/>
                  </a:cubicBezTo>
                  <a:cubicBezTo>
                    <a:pt x="2888" y="1702"/>
                    <a:pt x="2839" y="1906"/>
                    <a:pt x="2753" y="2088"/>
                  </a:cubicBezTo>
                  <a:lnTo>
                    <a:pt x="2025" y="2088"/>
                  </a:lnTo>
                  <a:close/>
                  <a:moveTo>
                    <a:pt x="9800" y="11200"/>
                  </a:moveTo>
                  <a:lnTo>
                    <a:pt x="0" y="11200"/>
                  </a:lnTo>
                  <a:lnTo>
                    <a:pt x="0" y="1250"/>
                  </a:lnTo>
                  <a:cubicBezTo>
                    <a:pt x="0" y="560"/>
                    <a:pt x="560" y="0"/>
                    <a:pt x="1250" y="0"/>
                  </a:cubicBezTo>
                  <a:lnTo>
                    <a:pt x="9800" y="0"/>
                  </a:lnTo>
                  <a:cubicBezTo>
                    <a:pt x="10573" y="0"/>
                    <a:pt x="11200" y="627"/>
                    <a:pt x="11200" y="1400"/>
                  </a:cubicBezTo>
                  <a:cubicBezTo>
                    <a:pt x="11200" y="2173"/>
                    <a:pt x="10573" y="2800"/>
                    <a:pt x="9800" y="2800"/>
                  </a:cubicBezTo>
                  <a:lnTo>
                    <a:pt x="9800" y="11200"/>
                  </a:lnTo>
                  <a:close/>
                  <a:moveTo>
                    <a:pt x="2100" y="4163"/>
                  </a:moveTo>
                  <a:lnTo>
                    <a:pt x="7738" y="4163"/>
                  </a:lnTo>
                  <a:cubicBezTo>
                    <a:pt x="7958" y="4163"/>
                    <a:pt x="8138" y="4342"/>
                    <a:pt x="8138" y="4563"/>
                  </a:cubicBezTo>
                  <a:cubicBezTo>
                    <a:pt x="8138" y="4783"/>
                    <a:pt x="7958" y="4963"/>
                    <a:pt x="7738" y="4963"/>
                  </a:cubicBezTo>
                  <a:lnTo>
                    <a:pt x="2100" y="4963"/>
                  </a:lnTo>
                  <a:cubicBezTo>
                    <a:pt x="1879" y="4963"/>
                    <a:pt x="1700" y="4783"/>
                    <a:pt x="1700" y="4563"/>
                  </a:cubicBezTo>
                  <a:cubicBezTo>
                    <a:pt x="1700" y="4342"/>
                    <a:pt x="1879" y="4163"/>
                    <a:pt x="2100" y="4163"/>
                  </a:cubicBezTo>
                  <a:close/>
                  <a:moveTo>
                    <a:pt x="2100" y="6175"/>
                  </a:moveTo>
                  <a:lnTo>
                    <a:pt x="7738" y="6175"/>
                  </a:lnTo>
                  <a:cubicBezTo>
                    <a:pt x="7958" y="6175"/>
                    <a:pt x="8138" y="6354"/>
                    <a:pt x="8138" y="6575"/>
                  </a:cubicBezTo>
                  <a:cubicBezTo>
                    <a:pt x="8138" y="6796"/>
                    <a:pt x="7958" y="6975"/>
                    <a:pt x="7738" y="6975"/>
                  </a:cubicBezTo>
                  <a:lnTo>
                    <a:pt x="2100" y="6975"/>
                  </a:lnTo>
                  <a:cubicBezTo>
                    <a:pt x="1879" y="6975"/>
                    <a:pt x="1700" y="6796"/>
                    <a:pt x="1700" y="6575"/>
                  </a:cubicBezTo>
                  <a:cubicBezTo>
                    <a:pt x="1700" y="6354"/>
                    <a:pt x="1879" y="6175"/>
                    <a:pt x="2100" y="6175"/>
                  </a:cubicBezTo>
                  <a:close/>
                  <a:moveTo>
                    <a:pt x="2100" y="8188"/>
                  </a:moveTo>
                  <a:lnTo>
                    <a:pt x="7738" y="8188"/>
                  </a:lnTo>
                  <a:cubicBezTo>
                    <a:pt x="7958" y="8188"/>
                    <a:pt x="8138" y="8367"/>
                    <a:pt x="8138" y="8588"/>
                  </a:cubicBezTo>
                  <a:cubicBezTo>
                    <a:pt x="8138" y="8808"/>
                    <a:pt x="7958" y="8988"/>
                    <a:pt x="7738" y="8988"/>
                  </a:cubicBezTo>
                  <a:lnTo>
                    <a:pt x="2100" y="8988"/>
                  </a:lnTo>
                  <a:cubicBezTo>
                    <a:pt x="1879" y="8988"/>
                    <a:pt x="1700" y="8808"/>
                    <a:pt x="1700" y="8588"/>
                  </a:cubicBezTo>
                  <a:cubicBezTo>
                    <a:pt x="1700" y="8367"/>
                    <a:pt x="1879" y="8188"/>
                    <a:pt x="2100" y="818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5" name="文本框 44">
            <a:extLst>
              <a:ext uri="{FF2B5EF4-FFF2-40B4-BE49-F238E27FC236}">
                <a16:creationId xmlns:a16="http://schemas.microsoft.com/office/drawing/2014/main" id="{783F043B-51A1-4045-A5E1-DB36D70858A7}"/>
              </a:ext>
            </a:extLst>
          </p:cNvPr>
          <p:cNvSpPr txBox="1"/>
          <p:nvPr/>
        </p:nvSpPr>
        <p:spPr>
          <a:xfrm>
            <a:off x="5072478" y="1892954"/>
            <a:ext cx="6238877" cy="787523"/>
          </a:xfrm>
          <a:prstGeom prst="rect">
            <a:avLst/>
          </a:prstGeom>
          <a:noFill/>
        </p:spPr>
        <p:txBody>
          <a:bodyPr wrap="square">
            <a:spAutoFit/>
          </a:bodyPr>
          <a:lstStyle/>
          <a:p>
            <a:pPr marL="180000" indent="-180000">
              <a:lnSpc>
                <a:spcPct val="150000"/>
              </a:lnSpc>
              <a:buFont typeface="Arial" panose="020B0604020202020204" pitchFamily="34" charset="0"/>
              <a:buChar char="•"/>
            </a:pP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3</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期临床拓展研究</a:t>
            </a:r>
            <a:r>
              <a:rPr lang="en-US" altLang="zh-CN" sz="1600" b="1" baseline="30000" dirty="0">
                <a:solidFill>
                  <a:srgbClr val="2473BA"/>
                </a:solidFill>
                <a:latin typeface="Arial" panose="020B0604020202020204" pitchFamily="34" charset="0"/>
                <a:ea typeface="微软雅黑" panose="020B0503020204020204" pitchFamily="34" charset="-122"/>
              </a:rPr>
              <a:t>7 </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13</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年的随访数据）</a:t>
            </a: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p>
          <a:p>
            <a:pPr>
              <a:lnSpc>
                <a:spcPct val="150000"/>
              </a:lnSpc>
            </a:pPr>
            <a:r>
              <a:rPr lang="en-US" altLang="zh-CN" sz="1600" b="1" dirty="0">
                <a:solidFill>
                  <a:srgbClr val="2473BA"/>
                </a:solidFill>
                <a:latin typeface="Arial" panose="020B0604020202020204" pitchFamily="34" charset="0"/>
                <a:ea typeface="微软雅黑" panose="020B0503020204020204" pitchFamily="34" charset="-122"/>
              </a:rPr>
              <a:t>   </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不良事件发生率与一般人群类似且不增加感染和肿瘤风险</a:t>
            </a:r>
            <a:endParaRPr lang="zh-CN" altLang="en-US" sz="1600" b="1" baseline="30000" dirty="0">
              <a:solidFill>
                <a:srgbClr val="2473BA"/>
              </a:solidFill>
            </a:endParaRPr>
          </a:p>
        </p:txBody>
      </p:sp>
      <p:sp>
        <p:nvSpPr>
          <p:cNvPr id="50" name="文本框 49">
            <a:extLst>
              <a:ext uri="{FF2B5EF4-FFF2-40B4-BE49-F238E27FC236}">
                <a16:creationId xmlns:a16="http://schemas.microsoft.com/office/drawing/2014/main" id="{BB04ED80-2E27-4C1F-8691-B24DAE583411}"/>
              </a:ext>
            </a:extLst>
          </p:cNvPr>
          <p:cNvSpPr txBox="1"/>
          <p:nvPr/>
        </p:nvSpPr>
        <p:spPr>
          <a:xfrm>
            <a:off x="5068620" y="3755285"/>
            <a:ext cx="6351115" cy="1156407"/>
          </a:xfrm>
          <a:prstGeom prst="rect">
            <a:avLst/>
          </a:prstGeom>
          <a:noFill/>
        </p:spPr>
        <p:txBody>
          <a:bodyPr wrap="square">
            <a:spAutoFit/>
          </a:bodyPr>
          <a:lstStyle/>
          <a:p>
            <a:pPr marL="180000" indent="-180000">
              <a:lnSpc>
                <a:spcPct val="150000"/>
              </a:lnSpc>
              <a:buFont typeface="Arial" panose="020B0604020202020204" pitchFamily="34" charset="0"/>
              <a:buChar cha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不良反应监测：</a:t>
            </a:r>
            <a:endPar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a:lnSpc>
                <a:spcPct val="150000"/>
              </a:lnSpc>
            </a:pPr>
            <a:r>
              <a:rPr lang="en-US" altLang="zh-CN" sz="1600" b="1" dirty="0">
                <a:solidFill>
                  <a:srgbClr val="2473BA"/>
                </a:solidFill>
                <a:latin typeface="Arial" panose="020B0604020202020204" pitchFamily="34" charset="0"/>
                <a:ea typeface="微软雅黑" panose="020B0503020204020204" pitchFamily="34" charset="-122"/>
              </a:rPr>
              <a:t>  </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至今中国、美国、欧洲等药监机构未发布任何关于本品包括致畸性、  </a:t>
            </a:r>
            <a:endPar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a:lnSpc>
                <a:spcPct val="150000"/>
              </a:lnSpc>
            </a:pPr>
            <a:r>
              <a:rPr lang="en-US" altLang="zh-CN" sz="1600" b="1" dirty="0">
                <a:solidFill>
                  <a:srgbClr val="2473BA"/>
                </a:solidFill>
                <a:latin typeface="Arial" panose="020B0604020202020204" pitchFamily="34" charset="0"/>
                <a:ea typeface="微软雅黑" panose="020B0503020204020204" pitchFamily="34" charset="-122"/>
              </a:rPr>
              <a:t>  </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肝肾毒性、停药病情反弹等安全警告信息</a:t>
            </a:r>
          </a:p>
        </p:txBody>
      </p:sp>
      <p:sp>
        <p:nvSpPr>
          <p:cNvPr id="52" name="椭圆 51">
            <a:extLst>
              <a:ext uri="{FF2B5EF4-FFF2-40B4-BE49-F238E27FC236}">
                <a16:creationId xmlns:a16="http://schemas.microsoft.com/office/drawing/2014/main" id="{F80DDE58-96BF-45B5-980F-1EB1F7E39F72}"/>
              </a:ext>
            </a:extLst>
          </p:cNvPr>
          <p:cNvSpPr/>
          <p:nvPr/>
        </p:nvSpPr>
        <p:spPr>
          <a:xfrm>
            <a:off x="1863335" y="3133258"/>
            <a:ext cx="155553" cy="99853"/>
          </a:xfrm>
          <a:prstGeom prst="ellipse">
            <a:avLst/>
          </a:prstGeom>
          <a:solidFill>
            <a:srgbClr val="EEB0B0"/>
          </a:solidFill>
          <a:ln>
            <a:no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a:extLst>
              <a:ext uri="{FF2B5EF4-FFF2-40B4-BE49-F238E27FC236}">
                <a16:creationId xmlns:a16="http://schemas.microsoft.com/office/drawing/2014/main" id="{59A1BB58-C5FB-4A61-8E85-FB4B6AC13FA7}"/>
              </a:ext>
            </a:extLst>
          </p:cNvPr>
          <p:cNvSpPr/>
          <p:nvPr/>
        </p:nvSpPr>
        <p:spPr>
          <a:xfrm>
            <a:off x="2093779" y="3133258"/>
            <a:ext cx="155553" cy="99853"/>
          </a:xfrm>
          <a:prstGeom prst="ellipse">
            <a:avLst/>
          </a:prstGeom>
          <a:solidFill>
            <a:srgbClr val="EEB0B0"/>
          </a:solidFill>
          <a:ln>
            <a:no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a:extLst>
              <a:ext uri="{FF2B5EF4-FFF2-40B4-BE49-F238E27FC236}">
                <a16:creationId xmlns:a16="http://schemas.microsoft.com/office/drawing/2014/main" id="{4CF9BCE8-33EF-8D9E-4C32-6FFEE9CEBC14}"/>
              </a:ext>
            </a:extLst>
          </p:cNvPr>
          <p:cNvSpPr txBox="1"/>
          <p:nvPr/>
        </p:nvSpPr>
        <p:spPr>
          <a:xfrm>
            <a:off x="499645" y="5820378"/>
            <a:ext cx="10811710" cy="215444"/>
          </a:xfrm>
          <a:prstGeom prst="rect">
            <a:avLst/>
          </a:prstGeom>
          <a:noFill/>
        </p:spPr>
        <p:txBody>
          <a:bodyPr wrap="square" rtlCol="0">
            <a:spAutoFit/>
          </a:bodyPr>
          <a:lstStyle/>
          <a:p>
            <a:r>
              <a:rPr lang="fr-FR" altLang="zh-CN" sz="800" dirty="0">
                <a:latin typeface="+mj-ea"/>
                <a:ea typeface="+mj-ea"/>
              </a:rPr>
              <a:t>7. Gold, R, et al, Multiple Sclerosis Journal, 2021: p. 13524585211037909</a:t>
            </a:r>
          </a:p>
        </p:txBody>
      </p:sp>
    </p:spTree>
    <p:custDataLst>
      <p:tags r:id="rId1"/>
    </p:custDataLst>
    <p:extLst>
      <p:ext uri="{BB962C8B-B14F-4D97-AF65-F5344CB8AC3E}">
        <p14:creationId xmlns:p14="http://schemas.microsoft.com/office/powerpoint/2010/main" val="4147897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12_1">
            <a:extLst>
              <a:ext uri="{FF2B5EF4-FFF2-40B4-BE49-F238E27FC236}">
                <a16:creationId xmlns:a16="http://schemas.microsoft.com/office/drawing/2014/main" id="{9CEB1335-30DE-2F04-06D1-295C77F5314B}"/>
              </a:ext>
            </a:extLst>
          </p:cNvPr>
          <p:cNvSpPr/>
          <p:nvPr/>
        </p:nvSpPr>
        <p:spPr>
          <a:xfrm>
            <a:off x="438185" y="862792"/>
            <a:ext cx="4983579" cy="2971733"/>
          </a:xfrm>
          <a:prstGeom prst="roundRect">
            <a:avLst>
              <a:gd name="adj" fmla="val 5460"/>
            </a:avLst>
          </a:prstGeom>
          <a:gradFill>
            <a:gsLst>
              <a:gs pos="100000">
                <a:schemeClr val="accent1">
                  <a:lumMod val="5000"/>
                  <a:lumOff val="95000"/>
                  <a:alpha val="0"/>
                </a:schemeClr>
              </a:gs>
              <a:gs pos="0">
                <a:schemeClr val="accent1">
                  <a:lumMod val="30000"/>
                  <a:lumOff val="70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Verdana"/>
            </a:endParaRPr>
          </a:p>
        </p:txBody>
      </p:sp>
      <p:sp>
        <p:nvSpPr>
          <p:cNvPr id="33" name="Rectangle 12_1">
            <a:extLst>
              <a:ext uri="{FF2B5EF4-FFF2-40B4-BE49-F238E27FC236}">
                <a16:creationId xmlns:a16="http://schemas.microsoft.com/office/drawing/2014/main" id="{997FE492-EEAB-241C-0E79-F2F4E6221713}"/>
              </a:ext>
            </a:extLst>
          </p:cNvPr>
          <p:cNvSpPr/>
          <p:nvPr/>
        </p:nvSpPr>
        <p:spPr>
          <a:xfrm>
            <a:off x="5967197" y="849261"/>
            <a:ext cx="5780022" cy="2971733"/>
          </a:xfrm>
          <a:prstGeom prst="roundRect">
            <a:avLst>
              <a:gd name="adj" fmla="val 5460"/>
            </a:avLst>
          </a:prstGeom>
          <a:gradFill>
            <a:gsLst>
              <a:gs pos="100000">
                <a:schemeClr val="accent1">
                  <a:lumMod val="5000"/>
                  <a:lumOff val="95000"/>
                  <a:alpha val="0"/>
                </a:schemeClr>
              </a:gs>
              <a:gs pos="0">
                <a:schemeClr val="accent1">
                  <a:lumMod val="30000"/>
                  <a:lumOff val="70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Verdana"/>
            </a:endParaRPr>
          </a:p>
        </p:txBody>
      </p:sp>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文本占位符 3">
            <a:extLst>
              <a:ext uri="{FF2B5EF4-FFF2-40B4-BE49-F238E27FC236}">
                <a16:creationId xmlns:a16="http://schemas.microsoft.com/office/drawing/2014/main" id="{A6EF0271-8C24-BF2F-0526-7C54AD938510}"/>
              </a:ext>
            </a:extLst>
          </p:cNvPr>
          <p:cNvSpPr txBox="1">
            <a:spLocks/>
          </p:cNvSpPr>
          <p:nvPr/>
        </p:nvSpPr>
        <p:spPr>
          <a:xfrm>
            <a:off x="414598" y="846493"/>
            <a:ext cx="11505292" cy="383016"/>
          </a:xfrm>
          <a:prstGeom prst="rect">
            <a:avLst/>
          </a:prstGeom>
        </p:spPr>
        <p:txBody>
          <a:bodyPr>
            <a:normAutofit/>
          </a:bodyPr>
          <a:lstStyle>
            <a:lvl1pPr marL="0" indent="0" algn="l" defTabSz="1219170" rtl="0" eaLnBrk="1" latinLnBrk="0" hangingPunct="1">
              <a:spcBef>
                <a:spcPts val="1600"/>
              </a:spcBef>
              <a:spcAft>
                <a:spcPts val="0"/>
              </a:spcAft>
              <a:buFontTx/>
              <a:buNone/>
              <a:defRPr sz="1867" b="1" i="0" kern="1200" baseline="0">
                <a:solidFill>
                  <a:srgbClr val="82286E"/>
                </a:solidFill>
                <a:latin typeface="Arial" pitchFamily="34" charset="0"/>
                <a:ea typeface="+mn-ea"/>
                <a:cs typeface="Arial" pitchFamily="34" charset="0"/>
              </a:defRPr>
            </a:lvl1pPr>
            <a:lvl2pPr marL="357708" indent="-192613" algn="l" defTabSz="1219170" rtl="0" eaLnBrk="1" latinLnBrk="0" hangingPunct="1">
              <a:spcBef>
                <a:spcPts val="533"/>
              </a:spcBef>
              <a:spcAft>
                <a:spcPts val="0"/>
              </a:spcAft>
              <a:buClr>
                <a:srgbClr val="782A6B"/>
              </a:buClr>
              <a:buSzPct val="100000"/>
              <a:buFont typeface="Arial" panose="020B0604020202020204" pitchFamily="34" charset="0"/>
              <a:buChar char="–"/>
              <a:tabLst/>
              <a:defRPr sz="1600" kern="1200">
                <a:solidFill>
                  <a:srgbClr val="5D6971"/>
                </a:solidFill>
                <a:latin typeface="Arial" pitchFamily="34" charset="0"/>
                <a:ea typeface="+mn-ea"/>
                <a:cs typeface="Arial" pitchFamily="34" charset="0"/>
              </a:defRPr>
            </a:lvl2pPr>
            <a:lvl3pPr marL="556670" indent="-158747" algn="l" defTabSz="1219170" rtl="0" eaLnBrk="1" latinLnBrk="0" hangingPunct="1">
              <a:spcBef>
                <a:spcPts val="533"/>
              </a:spcBef>
              <a:spcAft>
                <a:spcPts val="0"/>
              </a:spcAft>
              <a:buClr>
                <a:srgbClr val="782A6B"/>
              </a:buClr>
              <a:buFont typeface="Arial" panose="020B0604020202020204" pitchFamily="34" charset="0"/>
              <a:buChar char="•"/>
              <a:defRPr sz="1600" kern="1200">
                <a:solidFill>
                  <a:srgbClr val="5D6971"/>
                </a:solidFill>
                <a:latin typeface="Arial" pitchFamily="34" charset="0"/>
                <a:ea typeface="+mn-ea"/>
                <a:cs typeface="Arial" pitchFamily="34" charset="0"/>
              </a:defRPr>
            </a:lvl3pPr>
            <a:lvl4pPr marL="791614" indent="-182029" algn="l" defTabSz="1219170" rtl="0" eaLnBrk="1" latinLnBrk="0" hangingPunct="1">
              <a:spcBef>
                <a:spcPts val="533"/>
              </a:spcBef>
              <a:spcAft>
                <a:spcPts val="0"/>
              </a:spcAft>
              <a:buClr>
                <a:srgbClr val="77BD1F"/>
              </a:buClr>
              <a:buSzPct val="100000"/>
              <a:buFont typeface="Arial" panose="020B0604020202020204" pitchFamily="34" charset="0"/>
              <a:buChar char="–"/>
              <a:defRPr sz="1467" kern="1200">
                <a:solidFill>
                  <a:srgbClr val="5D6971"/>
                </a:solidFill>
                <a:latin typeface="Arial" pitchFamily="34" charset="0"/>
                <a:ea typeface="+mn-ea"/>
                <a:cs typeface="Arial" pitchFamily="34" charset="0"/>
              </a:defRPr>
            </a:lvl4pPr>
            <a:lvl5pPr marL="927077" indent="-131230" algn="l" defTabSz="1219170" rtl="0" eaLnBrk="1" latinLnBrk="0" hangingPunct="1">
              <a:spcBef>
                <a:spcPts val="533"/>
              </a:spcBef>
              <a:spcAft>
                <a:spcPts val="0"/>
              </a:spcAft>
              <a:buClr>
                <a:srgbClr val="77BD1F"/>
              </a:buClr>
              <a:buFont typeface="Arial" panose="020B0604020202020204" pitchFamily="34" charset="0"/>
              <a:buChar char="•"/>
              <a:defRPr sz="1467" kern="1200">
                <a:solidFill>
                  <a:srgbClr val="5D6971"/>
                </a:solidFill>
                <a:latin typeface="Arial" pitchFamily="34" charset="0"/>
                <a:ea typeface="+mn-ea"/>
                <a:cs typeface="Arial" pitchFamily="34" charset="0"/>
              </a:defRPr>
            </a:lvl5pPr>
            <a:lvl6pPr marL="1445648" indent="-226478" algn="l" defTabSz="1219170" rtl="0" eaLnBrk="1" latinLnBrk="0" hangingPunct="1">
              <a:spcBef>
                <a:spcPts val="533"/>
              </a:spcBef>
              <a:spcAft>
                <a:spcPts val="0"/>
              </a:spcAft>
              <a:buClr>
                <a:srgbClr val="782A6B"/>
              </a:buClr>
              <a:buSzPct val="85000"/>
              <a:buFont typeface="Arial" pitchFamily="34" charset="0"/>
              <a:buChar char="•"/>
              <a:defRPr sz="1467" kern="1200" baseline="0">
                <a:solidFill>
                  <a:srgbClr val="5D6971"/>
                </a:solidFill>
                <a:latin typeface="Arial" pitchFamily="34" charset="0"/>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600"/>
              </a:spcBef>
              <a:spcAft>
                <a:spcPts val="0"/>
              </a:spcAft>
              <a:buClrTx/>
              <a:buSzTx/>
              <a:buFontTx/>
              <a:buNone/>
              <a:tabLst/>
              <a:defRPr/>
            </a:pPr>
            <a:endParaRPr kumimoji="0" lang="zh-CN" altLang="en-US" sz="1867" b="1" i="0" u="none" strike="noStrike" kern="1200" cap="none" spc="0" normalizeH="0" baseline="0" noProof="0" dirty="0">
              <a:ln>
                <a:noFill/>
              </a:ln>
              <a:solidFill>
                <a:srgbClr val="82286E"/>
              </a:solidFill>
              <a:effectLst/>
              <a:uLnTx/>
              <a:uFillTx/>
              <a:latin typeface="Arial" pitchFamily="34" charset="0"/>
              <a:ea typeface="黑体" panose="02010609060101010101" pitchFamily="49" charset="-122"/>
              <a:cs typeface="Arial" pitchFamily="34" charset="0"/>
            </a:endParaRPr>
          </a:p>
        </p:txBody>
      </p:sp>
      <p:graphicFrame>
        <p:nvGraphicFramePr>
          <p:cNvPr id="8" name="表格 4">
            <a:extLst>
              <a:ext uri="{FF2B5EF4-FFF2-40B4-BE49-F238E27FC236}">
                <a16:creationId xmlns:a16="http://schemas.microsoft.com/office/drawing/2014/main" id="{77DB25E3-C291-46DC-8907-00A23D6DCCCB}"/>
              </a:ext>
            </a:extLst>
          </p:cNvPr>
          <p:cNvGraphicFramePr>
            <a:graphicFrameLocks noGrp="1"/>
          </p:cNvGraphicFramePr>
          <p:nvPr>
            <p:extLst>
              <p:ext uri="{D42A27DB-BD31-4B8C-83A1-F6EECF244321}">
                <p14:modId xmlns:p14="http://schemas.microsoft.com/office/powerpoint/2010/main" val="3363112998"/>
              </p:ext>
            </p:extLst>
          </p:nvPr>
        </p:nvGraphicFramePr>
        <p:xfrm>
          <a:off x="414598" y="3823892"/>
          <a:ext cx="5007167" cy="1876684"/>
        </p:xfrm>
        <a:graphic>
          <a:graphicData uri="http://schemas.openxmlformats.org/drawingml/2006/table">
            <a:tbl>
              <a:tblPr firstRow="1" bandRow="1">
                <a:tableStyleId>{5C22544A-7EE6-4342-B048-85BDC9FD1C3A}</a:tableStyleId>
              </a:tblPr>
              <a:tblGrid>
                <a:gridCol w="1440300">
                  <a:extLst>
                    <a:ext uri="{9D8B030D-6E8A-4147-A177-3AD203B41FA5}">
                      <a16:colId xmlns:a16="http://schemas.microsoft.com/office/drawing/2014/main" val="2119613101"/>
                    </a:ext>
                  </a:extLst>
                </a:gridCol>
                <a:gridCol w="964116">
                  <a:extLst>
                    <a:ext uri="{9D8B030D-6E8A-4147-A177-3AD203B41FA5}">
                      <a16:colId xmlns:a16="http://schemas.microsoft.com/office/drawing/2014/main" val="2827607387"/>
                    </a:ext>
                  </a:extLst>
                </a:gridCol>
                <a:gridCol w="2602751">
                  <a:extLst>
                    <a:ext uri="{9D8B030D-6E8A-4147-A177-3AD203B41FA5}">
                      <a16:colId xmlns:a16="http://schemas.microsoft.com/office/drawing/2014/main" val="864063687"/>
                    </a:ext>
                  </a:extLst>
                </a:gridCol>
              </a:tblGrid>
              <a:tr h="311357">
                <a:tc>
                  <a:txBody>
                    <a:bodyPr/>
                    <a:lstStyle/>
                    <a:p>
                      <a:pPr algn="ctr"/>
                      <a:r>
                        <a:rPr lang="zh-CN" altLang="en-US" sz="1400" dirty="0">
                          <a:latin typeface="Arial" panose="020B0604020202020204" pitchFamily="34" charset="0"/>
                          <a:ea typeface="微软雅黑" panose="020B0503020204020204" pitchFamily="34" charset="-122"/>
                          <a:cs typeface="+mn-ea"/>
                          <a:sym typeface="Arial" panose="020B0604020202020204" pitchFamily="34" charset="0"/>
                        </a:rPr>
                        <a:t>药品名称</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73BA"/>
                    </a:solidFill>
                  </a:tcPr>
                </a:tc>
                <a:tc>
                  <a:txBody>
                    <a:bodyPr/>
                    <a:lstStyle/>
                    <a:p>
                      <a:pPr algn="ctr"/>
                      <a:r>
                        <a:rPr lang="zh-CN" altLang="en-US" sz="1400" dirty="0">
                          <a:latin typeface="Arial" panose="020B0604020202020204" pitchFamily="34" charset="0"/>
                          <a:ea typeface="微软雅黑" panose="020B0503020204020204" pitchFamily="34" charset="-122"/>
                          <a:cs typeface="+mn-ea"/>
                          <a:sym typeface="Arial" panose="020B0604020202020204" pitchFamily="34" charset="0"/>
                        </a:rPr>
                        <a:t>半衰期</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73BA"/>
                    </a:solidFill>
                  </a:tcPr>
                </a:tc>
                <a:tc>
                  <a:txBody>
                    <a:bodyPr/>
                    <a:lstStyle/>
                    <a:p>
                      <a:pPr algn="ctr"/>
                      <a:r>
                        <a:rPr lang="zh-CN" altLang="en-US" sz="1400" baseline="0" dirty="0">
                          <a:latin typeface="Arial" panose="020B0604020202020204" pitchFamily="34" charset="0"/>
                          <a:ea typeface="微软雅黑" panose="020B0503020204020204" pitchFamily="34" charset="-122"/>
                          <a:cs typeface="+mn-ea"/>
                          <a:sym typeface="Arial" panose="020B0604020202020204" pitchFamily="34" charset="0"/>
                        </a:rPr>
                        <a:t>洗脱期</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473BA"/>
                    </a:solidFill>
                  </a:tcPr>
                </a:tc>
                <a:extLst>
                  <a:ext uri="{0D108BD9-81ED-4DB2-BD59-A6C34878D82A}">
                    <a16:rowId xmlns:a16="http://schemas.microsoft.com/office/drawing/2014/main" val="2766305487"/>
                  </a:ext>
                </a:extLst>
              </a:tr>
              <a:tr h="368099">
                <a:tc>
                  <a:txBody>
                    <a:bodyPr/>
                    <a:lstStyle/>
                    <a:p>
                      <a:pPr algn="ctr"/>
                      <a:r>
                        <a:rPr lang="zh-CN" altLang="en-US" sz="1200" b="1" dirty="0">
                          <a:solidFill>
                            <a:srgbClr val="2473BA"/>
                          </a:solidFill>
                          <a:latin typeface="Arial" panose="020B0604020202020204" pitchFamily="34" charset="0"/>
                          <a:ea typeface="微软雅黑" panose="020B0503020204020204" pitchFamily="34" charset="-122"/>
                          <a:cs typeface="+mn-ea"/>
                          <a:sym typeface="Arial" panose="020B0604020202020204" pitchFamily="34" charset="0"/>
                        </a:rPr>
                        <a:t>富马酸二甲酯</a:t>
                      </a:r>
                      <a:r>
                        <a:rPr lang="en-US" altLang="zh-CN" sz="1200" b="1" baseline="30000" dirty="0">
                          <a:solidFill>
                            <a:srgbClr val="2473BA"/>
                          </a:solidFill>
                          <a:latin typeface="Arial" panose="020B0604020202020204" pitchFamily="34" charset="0"/>
                          <a:ea typeface="微软雅黑" panose="020B0503020204020204" pitchFamily="34" charset="-122"/>
                          <a:cs typeface="+mn-ea"/>
                          <a:sym typeface="Arial" panose="020B0604020202020204" pitchFamily="34" charset="0"/>
                        </a:rPr>
                        <a:t>9,10</a:t>
                      </a:r>
                      <a:endParaRPr lang="zh-CN" altLang="en-US" sz="1200" b="1" baseline="30000" dirty="0">
                        <a:solidFill>
                          <a:srgbClr val="2473BA"/>
                        </a:solidFill>
                        <a:latin typeface="Arial" panose="020B0604020202020204" pitchFamily="34" charset="0"/>
                        <a:ea typeface="微软雅黑" panose="020B0503020204020204" pitchFamily="34" charset="-122"/>
                        <a:cs typeface="+mn-ea"/>
                        <a:sym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algn="ctr"/>
                      <a:r>
                        <a:rPr lang="en-US" altLang="zh-CN" sz="1200" b="1" dirty="0">
                          <a:solidFill>
                            <a:srgbClr val="2473BA"/>
                          </a:solidFill>
                          <a:latin typeface="Arial" panose="020B0604020202020204" pitchFamily="34" charset="0"/>
                          <a:ea typeface="微软雅黑" panose="020B0503020204020204" pitchFamily="34" charset="-122"/>
                          <a:cs typeface="+mn-ea"/>
                          <a:sym typeface="Arial" panose="020B0604020202020204" pitchFamily="34" charset="0"/>
                        </a:rPr>
                        <a:t>1</a:t>
                      </a:r>
                      <a:r>
                        <a:rPr lang="zh-CN" altLang="en-US" sz="1200" b="1" dirty="0">
                          <a:solidFill>
                            <a:srgbClr val="2473BA"/>
                          </a:solidFill>
                          <a:latin typeface="Arial" panose="020B0604020202020204" pitchFamily="34" charset="0"/>
                          <a:ea typeface="微软雅黑" panose="020B0503020204020204" pitchFamily="34" charset="-122"/>
                          <a:cs typeface="+mn-ea"/>
                          <a:sym typeface="Arial" panose="020B0604020202020204" pitchFamily="34" charset="0"/>
                        </a:rPr>
                        <a:t>小时</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tc>
                  <a:txBody>
                    <a:bodyPr/>
                    <a:lstStyle/>
                    <a:p>
                      <a:pPr marL="0" indent="0" algn="ctr">
                        <a:buFont typeface="Arial" panose="020B0604020202020204" pitchFamily="34" charset="0"/>
                        <a:buNone/>
                      </a:pPr>
                      <a:r>
                        <a:rPr lang="en-US" altLang="zh-CN" sz="1200" b="1" dirty="0">
                          <a:solidFill>
                            <a:srgbClr val="2473BA"/>
                          </a:solidFill>
                        </a:rPr>
                        <a:t>24</a:t>
                      </a:r>
                      <a:r>
                        <a:rPr lang="zh-CN" altLang="en-US" sz="1200" b="1" dirty="0">
                          <a:solidFill>
                            <a:srgbClr val="2473BA"/>
                          </a:solidFill>
                        </a:rPr>
                        <a:t>小时</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4097006917"/>
                  </a:ext>
                </a:extLst>
              </a:tr>
              <a:tr h="208590">
                <a:tc>
                  <a:txBody>
                    <a:bodyPr/>
                    <a:lstStyle/>
                    <a:p>
                      <a:pPr algn="ctr"/>
                      <a:r>
                        <a:rPr lang="zh-CN" altLang="en-US" sz="11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芬戈莫德</a:t>
                      </a:r>
                      <a:r>
                        <a:rPr lang="en-US" altLang="zh-CN"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1,12</a:t>
                      </a:r>
                      <a:endParaRPr lang="zh-CN" altLang="en-US"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ltLang="zh-CN"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6-9 </a:t>
                      </a:r>
                      <a:r>
                        <a:rPr lang="zh-CN" altLang="en-US"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天</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altLang="zh-CN" sz="1100" dirty="0"/>
                        <a:t>6-8</a:t>
                      </a:r>
                      <a:r>
                        <a:rPr lang="zh-CN" altLang="en-US" sz="1100" dirty="0"/>
                        <a:t>周</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3171138"/>
                  </a:ext>
                </a:extLst>
              </a:tr>
              <a:tr h="208590">
                <a:tc>
                  <a:txBody>
                    <a:bodyPr/>
                    <a:lstStyle/>
                    <a:p>
                      <a:pPr algn="ctr"/>
                      <a:r>
                        <a:rPr lang="zh-CN" altLang="en-US" sz="11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西尼莫德</a:t>
                      </a:r>
                      <a:r>
                        <a:rPr lang="en-US" altLang="zh-CN"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3,14</a:t>
                      </a:r>
                      <a:endParaRPr lang="zh-CN" altLang="en-US"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ltLang="zh-CN"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30</a:t>
                      </a:r>
                      <a:r>
                        <a:rPr lang="zh-CN" altLang="en-US"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小时</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altLang="zh-CN" sz="1100" dirty="0"/>
                        <a:t>10</a:t>
                      </a:r>
                      <a:r>
                        <a:rPr lang="zh-CN" altLang="en-US" sz="1100" dirty="0"/>
                        <a:t>天</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946893"/>
                  </a:ext>
                </a:extLst>
              </a:tr>
              <a:tr h="308487">
                <a:tc>
                  <a:txBody>
                    <a:bodyPr/>
                    <a:lstStyle/>
                    <a:p>
                      <a:pPr algn="ctr"/>
                      <a:r>
                        <a:rPr lang="zh-CN" altLang="en-US" sz="11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奥法妥木单抗</a:t>
                      </a:r>
                      <a:r>
                        <a:rPr lang="en-US" altLang="zh-CN"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5</a:t>
                      </a:r>
                      <a:endParaRPr lang="zh-CN" altLang="en-US" sz="11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altLang="zh-CN"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6</a:t>
                      </a:r>
                      <a:r>
                        <a:rPr lang="zh-CN" altLang="en-US"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天</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ctr">
                        <a:buFont typeface="Arial" panose="020B0604020202020204" pitchFamily="34" charset="0"/>
                        <a:buNone/>
                      </a:pPr>
                      <a:r>
                        <a:rPr lang="en-US" altLang="zh-CN" sz="1100" dirty="0"/>
                        <a:t>6</a:t>
                      </a:r>
                      <a:r>
                        <a:rPr lang="zh-CN" altLang="en-US" sz="1100" dirty="0"/>
                        <a:t>个月</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6693942"/>
                  </a:ext>
                </a:extLst>
              </a:tr>
              <a:tr h="370581">
                <a:tc>
                  <a:txBody>
                    <a:bodyPr/>
                    <a:lstStyle/>
                    <a:p>
                      <a:pPr algn="ctr">
                        <a:spcBef>
                          <a:spcPts val="300"/>
                        </a:spcBef>
                      </a:pPr>
                      <a:r>
                        <a:rPr lang="zh-CN" altLang="en-US" sz="1100" b="1"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特立氟胺</a:t>
                      </a:r>
                      <a:r>
                        <a:rPr lang="en-US" altLang="zh-CN"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2,16</a:t>
                      </a:r>
                      <a:endParaRPr lang="zh-CN" altLang="en-US" sz="1100" b="1" baseline="300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a:txBody>
                  <a:tcPr anchor="ctr">
                    <a:lnL w="12700" cmpd="sng">
                      <a:noFill/>
                    </a:lnL>
                    <a:lnR w="12700" cmpd="sng">
                      <a:noFill/>
                    </a:lnR>
                    <a:lnT w="12700" cmpd="sng">
                      <a:noFill/>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300"/>
                        </a:spcBef>
                      </a:pPr>
                      <a:r>
                        <a:rPr lang="en-US" altLang="zh-CN"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18~19</a:t>
                      </a:r>
                      <a:r>
                        <a:rPr lang="zh-CN" altLang="en-US" sz="1100" b="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rPr>
                        <a:t>天</a:t>
                      </a:r>
                    </a:p>
                  </a:txBody>
                  <a:tcPr anchor="ctr">
                    <a:lnL w="12700" cmpd="sng">
                      <a:noFill/>
                    </a:lnL>
                    <a:lnR w="12700" cmpd="sng">
                      <a:noFill/>
                    </a:lnR>
                    <a:lnT w="12700" cmpd="sng">
                      <a:noFill/>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50000"/>
                        </a:lnSpc>
                        <a:spcBef>
                          <a:spcPts val="300"/>
                        </a:spcBef>
                        <a:buFont typeface="Arial" panose="020B0604020202020204" pitchFamily="34" charset="0"/>
                        <a:buNone/>
                      </a:pPr>
                      <a:r>
                        <a:rPr lang="en-US" altLang="zh-CN" sz="1100" dirty="0"/>
                        <a:t>8</a:t>
                      </a:r>
                      <a:r>
                        <a:rPr lang="zh-CN" altLang="en-US" sz="1100" dirty="0"/>
                        <a:t>个月</a:t>
                      </a:r>
                      <a:r>
                        <a:rPr lang="en-US" altLang="zh-CN" sz="1100" dirty="0"/>
                        <a:t>~2</a:t>
                      </a:r>
                      <a:r>
                        <a:rPr lang="zh-CN" altLang="en-US" sz="1100" dirty="0"/>
                        <a:t>年</a:t>
                      </a:r>
                    </a:p>
                  </a:txBody>
                  <a:tcPr anchor="ctr">
                    <a:lnL w="12700" cmpd="sng">
                      <a:noFill/>
                    </a:lnL>
                    <a:lnR w="12700" cmpd="sng">
                      <a:noFill/>
                    </a:lnR>
                    <a:lnT w="12700" cmpd="sng">
                      <a:noFill/>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0972473"/>
                  </a:ext>
                </a:extLst>
              </a:tr>
            </a:tbl>
          </a:graphicData>
        </a:graphic>
      </p:graphicFrame>
      <p:grpSp>
        <p:nvGrpSpPr>
          <p:cNvPr id="2" name="组合 1">
            <a:extLst>
              <a:ext uri="{FF2B5EF4-FFF2-40B4-BE49-F238E27FC236}">
                <a16:creationId xmlns:a16="http://schemas.microsoft.com/office/drawing/2014/main" id="{7FBDF15E-70EA-E358-39D5-AF425F7E519F}"/>
              </a:ext>
            </a:extLst>
          </p:cNvPr>
          <p:cNvGrpSpPr/>
          <p:nvPr/>
        </p:nvGrpSpPr>
        <p:grpSpPr>
          <a:xfrm>
            <a:off x="636616" y="1935522"/>
            <a:ext cx="1849689" cy="1392466"/>
            <a:chOff x="491315" y="2004377"/>
            <a:chExt cx="2000825" cy="1506243"/>
          </a:xfrm>
        </p:grpSpPr>
        <p:sp>
          <p:nvSpPr>
            <p:cNvPr id="10" name="文本框 9">
              <a:extLst>
                <a:ext uri="{FF2B5EF4-FFF2-40B4-BE49-F238E27FC236}">
                  <a16:creationId xmlns:a16="http://schemas.microsoft.com/office/drawing/2014/main" id="{4FEE4404-9141-4FE5-EB9A-0785838EA8D0}"/>
                </a:ext>
              </a:extLst>
            </p:cNvPr>
            <p:cNvSpPr txBox="1"/>
            <p:nvPr/>
          </p:nvSpPr>
          <p:spPr>
            <a:xfrm>
              <a:off x="491315" y="2925845"/>
              <a:ext cx="982364"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32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r>
                <a:rPr kumimoji="1" lang="zh-CN" altLang="en-US"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小时</a:t>
              </a:r>
              <a:endParaRPr kumimoji="1" lang="en-US" altLang="zh-CN"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11" name="Group 4">
              <a:extLst>
                <a:ext uri="{FF2B5EF4-FFF2-40B4-BE49-F238E27FC236}">
                  <a16:creationId xmlns:a16="http://schemas.microsoft.com/office/drawing/2014/main" id="{B2A100C8-4EBA-0FD1-7FEA-23F6C1EBFBEA}"/>
                </a:ext>
              </a:extLst>
            </p:cNvPr>
            <p:cNvGrpSpPr>
              <a:grpSpLocks noChangeAspect="1"/>
            </p:cNvGrpSpPr>
            <p:nvPr/>
          </p:nvGrpSpPr>
          <p:grpSpPr bwMode="auto">
            <a:xfrm>
              <a:off x="1149892" y="2004377"/>
              <a:ext cx="1342248" cy="1367910"/>
              <a:chOff x="2597" y="834"/>
              <a:chExt cx="2486" cy="2654"/>
            </a:xfrm>
            <a:solidFill>
              <a:srgbClr val="2473BA"/>
            </a:solidFill>
          </p:grpSpPr>
          <p:sp>
            <p:nvSpPr>
              <p:cNvPr id="12" name="Freeform 5">
                <a:extLst>
                  <a:ext uri="{FF2B5EF4-FFF2-40B4-BE49-F238E27FC236}">
                    <a16:creationId xmlns:a16="http://schemas.microsoft.com/office/drawing/2014/main" id="{A41F52F2-F570-6074-12C6-DADC32F70B45}"/>
                  </a:ext>
                </a:extLst>
              </p:cNvPr>
              <p:cNvSpPr>
                <a:spLocks/>
              </p:cNvSpPr>
              <p:nvPr/>
            </p:nvSpPr>
            <p:spPr bwMode="auto">
              <a:xfrm>
                <a:off x="2597" y="834"/>
                <a:ext cx="1492" cy="2654"/>
              </a:xfrm>
              <a:custGeom>
                <a:avLst/>
                <a:gdLst>
                  <a:gd name="T0" fmla="*/ 527 w 730"/>
                  <a:gd name="T1" fmla="*/ 0 h 1297"/>
                  <a:gd name="T2" fmla="*/ 604 w 730"/>
                  <a:gd name="T3" fmla="*/ 44 h 1297"/>
                  <a:gd name="T4" fmla="*/ 716 w 730"/>
                  <a:gd name="T5" fmla="*/ 107 h 1297"/>
                  <a:gd name="T6" fmla="*/ 720 w 730"/>
                  <a:gd name="T7" fmla="*/ 128 h 1297"/>
                  <a:gd name="T8" fmla="*/ 570 w 730"/>
                  <a:gd name="T9" fmla="*/ 286 h 1297"/>
                  <a:gd name="T10" fmla="*/ 562 w 730"/>
                  <a:gd name="T11" fmla="*/ 268 h 1297"/>
                  <a:gd name="T12" fmla="*/ 554 w 730"/>
                  <a:gd name="T13" fmla="*/ 212 h 1297"/>
                  <a:gd name="T14" fmla="*/ 536 w 730"/>
                  <a:gd name="T15" fmla="*/ 199 h 1297"/>
                  <a:gd name="T16" fmla="*/ 395 w 730"/>
                  <a:gd name="T17" fmla="*/ 243 h 1297"/>
                  <a:gd name="T18" fmla="*/ 190 w 730"/>
                  <a:gd name="T19" fmla="*/ 424 h 1297"/>
                  <a:gd name="T20" fmla="*/ 113 w 730"/>
                  <a:gd name="T21" fmla="*/ 725 h 1297"/>
                  <a:gd name="T22" fmla="*/ 355 w 730"/>
                  <a:gd name="T23" fmla="*/ 1118 h 1297"/>
                  <a:gd name="T24" fmla="*/ 484 w 730"/>
                  <a:gd name="T25" fmla="*/ 1172 h 1297"/>
                  <a:gd name="T26" fmla="*/ 605 w 730"/>
                  <a:gd name="T27" fmla="*/ 1188 h 1297"/>
                  <a:gd name="T28" fmla="*/ 624 w 730"/>
                  <a:gd name="T29" fmla="*/ 1205 h 1297"/>
                  <a:gd name="T30" fmla="*/ 626 w 730"/>
                  <a:gd name="T31" fmla="*/ 1281 h 1297"/>
                  <a:gd name="T32" fmla="*/ 611 w 730"/>
                  <a:gd name="T33" fmla="*/ 1296 h 1297"/>
                  <a:gd name="T34" fmla="*/ 492 w 730"/>
                  <a:gd name="T35" fmla="*/ 1285 h 1297"/>
                  <a:gd name="T36" fmla="*/ 159 w 730"/>
                  <a:gd name="T37" fmla="*/ 1095 h 1297"/>
                  <a:gd name="T38" fmla="*/ 34 w 730"/>
                  <a:gd name="T39" fmla="*/ 879 h 1297"/>
                  <a:gd name="T40" fmla="*/ 4 w 730"/>
                  <a:gd name="T41" fmla="*/ 664 h 1297"/>
                  <a:gd name="T42" fmla="*/ 90 w 730"/>
                  <a:gd name="T43" fmla="*/ 379 h 1297"/>
                  <a:gd name="T44" fmla="*/ 331 w 730"/>
                  <a:gd name="T45" fmla="*/ 153 h 1297"/>
                  <a:gd name="T46" fmla="*/ 490 w 730"/>
                  <a:gd name="T47" fmla="*/ 98 h 1297"/>
                  <a:gd name="T48" fmla="*/ 514 w 730"/>
                  <a:gd name="T49" fmla="*/ 92 h 1297"/>
                  <a:gd name="T50" fmla="*/ 533 w 730"/>
                  <a:gd name="T51" fmla="*/ 66 h 1297"/>
                  <a:gd name="T52" fmla="*/ 526 w 730"/>
                  <a:gd name="T53" fmla="*/ 19 h 1297"/>
                  <a:gd name="T54" fmla="*/ 527 w 730"/>
                  <a:gd name="T55" fmla="*/ 0 h 1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0" h="1297">
                    <a:moveTo>
                      <a:pt x="527" y="0"/>
                    </a:moveTo>
                    <a:cubicBezTo>
                      <a:pt x="554" y="16"/>
                      <a:pt x="579" y="30"/>
                      <a:pt x="604" y="44"/>
                    </a:cubicBezTo>
                    <a:cubicBezTo>
                      <a:pt x="642" y="65"/>
                      <a:pt x="679" y="86"/>
                      <a:pt x="716" y="107"/>
                    </a:cubicBezTo>
                    <a:cubicBezTo>
                      <a:pt x="729" y="114"/>
                      <a:pt x="730" y="118"/>
                      <a:pt x="720" y="128"/>
                    </a:cubicBezTo>
                    <a:cubicBezTo>
                      <a:pt x="671" y="180"/>
                      <a:pt x="622" y="232"/>
                      <a:pt x="570" y="286"/>
                    </a:cubicBezTo>
                    <a:cubicBezTo>
                      <a:pt x="567" y="279"/>
                      <a:pt x="563" y="274"/>
                      <a:pt x="562" y="268"/>
                    </a:cubicBezTo>
                    <a:cubicBezTo>
                      <a:pt x="559" y="250"/>
                      <a:pt x="556" y="231"/>
                      <a:pt x="554" y="212"/>
                    </a:cubicBezTo>
                    <a:cubicBezTo>
                      <a:pt x="552" y="200"/>
                      <a:pt x="547" y="197"/>
                      <a:pt x="536" y="199"/>
                    </a:cubicBezTo>
                    <a:cubicBezTo>
                      <a:pt x="487" y="207"/>
                      <a:pt x="439" y="221"/>
                      <a:pt x="395" y="243"/>
                    </a:cubicBezTo>
                    <a:cubicBezTo>
                      <a:pt x="310" y="284"/>
                      <a:pt x="241" y="344"/>
                      <a:pt x="190" y="424"/>
                    </a:cubicBezTo>
                    <a:cubicBezTo>
                      <a:pt x="132" y="516"/>
                      <a:pt x="104" y="617"/>
                      <a:pt x="113" y="725"/>
                    </a:cubicBezTo>
                    <a:cubicBezTo>
                      <a:pt x="128" y="895"/>
                      <a:pt x="209" y="1027"/>
                      <a:pt x="355" y="1118"/>
                    </a:cubicBezTo>
                    <a:cubicBezTo>
                      <a:pt x="395" y="1143"/>
                      <a:pt x="439" y="1160"/>
                      <a:pt x="484" y="1172"/>
                    </a:cubicBezTo>
                    <a:cubicBezTo>
                      <a:pt x="524" y="1182"/>
                      <a:pt x="564" y="1188"/>
                      <a:pt x="605" y="1188"/>
                    </a:cubicBezTo>
                    <a:cubicBezTo>
                      <a:pt x="618" y="1187"/>
                      <a:pt x="624" y="1192"/>
                      <a:pt x="624" y="1205"/>
                    </a:cubicBezTo>
                    <a:cubicBezTo>
                      <a:pt x="624" y="1230"/>
                      <a:pt x="625" y="1256"/>
                      <a:pt x="626" y="1281"/>
                    </a:cubicBezTo>
                    <a:cubicBezTo>
                      <a:pt x="626" y="1293"/>
                      <a:pt x="621" y="1297"/>
                      <a:pt x="611" y="1296"/>
                    </a:cubicBezTo>
                    <a:cubicBezTo>
                      <a:pt x="571" y="1293"/>
                      <a:pt x="530" y="1293"/>
                      <a:pt x="492" y="1285"/>
                    </a:cubicBezTo>
                    <a:cubicBezTo>
                      <a:pt x="360" y="1258"/>
                      <a:pt x="248" y="1196"/>
                      <a:pt x="159" y="1095"/>
                    </a:cubicBezTo>
                    <a:cubicBezTo>
                      <a:pt x="102" y="1032"/>
                      <a:pt x="61" y="960"/>
                      <a:pt x="34" y="879"/>
                    </a:cubicBezTo>
                    <a:cubicBezTo>
                      <a:pt x="11" y="809"/>
                      <a:pt x="0" y="738"/>
                      <a:pt x="4" y="664"/>
                    </a:cubicBezTo>
                    <a:cubicBezTo>
                      <a:pt x="9" y="562"/>
                      <a:pt x="38" y="467"/>
                      <a:pt x="90" y="379"/>
                    </a:cubicBezTo>
                    <a:cubicBezTo>
                      <a:pt x="149" y="281"/>
                      <a:pt x="230" y="206"/>
                      <a:pt x="331" y="153"/>
                    </a:cubicBezTo>
                    <a:cubicBezTo>
                      <a:pt x="382" y="127"/>
                      <a:pt x="434" y="108"/>
                      <a:pt x="490" y="98"/>
                    </a:cubicBezTo>
                    <a:cubicBezTo>
                      <a:pt x="498" y="96"/>
                      <a:pt x="506" y="93"/>
                      <a:pt x="514" y="92"/>
                    </a:cubicBezTo>
                    <a:cubicBezTo>
                      <a:pt x="536" y="91"/>
                      <a:pt x="536" y="89"/>
                      <a:pt x="533" y="66"/>
                    </a:cubicBezTo>
                    <a:cubicBezTo>
                      <a:pt x="531" y="50"/>
                      <a:pt x="528" y="34"/>
                      <a:pt x="526" y="19"/>
                    </a:cubicBezTo>
                    <a:cubicBezTo>
                      <a:pt x="525" y="14"/>
                      <a:pt x="526" y="8"/>
                      <a:pt x="5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3" name="Freeform 6">
                <a:extLst>
                  <a:ext uri="{FF2B5EF4-FFF2-40B4-BE49-F238E27FC236}">
                    <a16:creationId xmlns:a16="http://schemas.microsoft.com/office/drawing/2014/main" id="{6659122B-43FA-5828-B35A-AC4A11816DA4}"/>
                  </a:ext>
                </a:extLst>
              </p:cNvPr>
              <p:cNvSpPr>
                <a:spLocks/>
              </p:cNvSpPr>
              <p:nvPr/>
            </p:nvSpPr>
            <p:spPr bwMode="auto">
              <a:xfrm>
                <a:off x="3314" y="1558"/>
                <a:ext cx="430" cy="1380"/>
              </a:xfrm>
              <a:custGeom>
                <a:avLst/>
                <a:gdLst>
                  <a:gd name="T0" fmla="*/ 210 w 210"/>
                  <a:gd name="T1" fmla="*/ 337 h 674"/>
                  <a:gd name="T2" fmla="*/ 210 w 210"/>
                  <a:gd name="T3" fmla="*/ 649 h 674"/>
                  <a:gd name="T4" fmla="*/ 187 w 210"/>
                  <a:gd name="T5" fmla="*/ 673 h 674"/>
                  <a:gd name="T6" fmla="*/ 127 w 210"/>
                  <a:gd name="T7" fmla="*/ 673 h 674"/>
                  <a:gd name="T8" fmla="*/ 109 w 210"/>
                  <a:gd name="T9" fmla="*/ 655 h 674"/>
                  <a:gd name="T10" fmla="*/ 109 w 210"/>
                  <a:gd name="T11" fmla="*/ 488 h 674"/>
                  <a:gd name="T12" fmla="*/ 109 w 210"/>
                  <a:gd name="T13" fmla="*/ 145 h 674"/>
                  <a:gd name="T14" fmla="*/ 90 w 210"/>
                  <a:gd name="T15" fmla="*/ 125 h 674"/>
                  <a:gd name="T16" fmla="*/ 18 w 210"/>
                  <a:gd name="T17" fmla="*/ 126 h 674"/>
                  <a:gd name="T18" fmla="*/ 0 w 210"/>
                  <a:gd name="T19" fmla="*/ 108 h 674"/>
                  <a:gd name="T20" fmla="*/ 17 w 210"/>
                  <a:gd name="T21" fmla="*/ 87 h 674"/>
                  <a:gd name="T22" fmla="*/ 129 w 210"/>
                  <a:gd name="T23" fmla="*/ 38 h 674"/>
                  <a:gd name="T24" fmla="*/ 139 w 210"/>
                  <a:gd name="T25" fmla="*/ 25 h 674"/>
                  <a:gd name="T26" fmla="*/ 156 w 210"/>
                  <a:gd name="T27" fmla="*/ 3 h 674"/>
                  <a:gd name="T28" fmla="*/ 202 w 210"/>
                  <a:gd name="T29" fmla="*/ 3 h 674"/>
                  <a:gd name="T30" fmla="*/ 209 w 210"/>
                  <a:gd name="T31" fmla="*/ 16 h 674"/>
                  <a:gd name="T32" fmla="*/ 210 w 210"/>
                  <a:gd name="T33" fmla="*/ 96 h 674"/>
                  <a:gd name="T34" fmla="*/ 210 w 210"/>
                  <a:gd name="T35" fmla="*/ 337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674">
                    <a:moveTo>
                      <a:pt x="210" y="337"/>
                    </a:moveTo>
                    <a:cubicBezTo>
                      <a:pt x="210" y="441"/>
                      <a:pt x="210" y="545"/>
                      <a:pt x="210" y="649"/>
                    </a:cubicBezTo>
                    <a:cubicBezTo>
                      <a:pt x="210" y="672"/>
                      <a:pt x="210" y="673"/>
                      <a:pt x="187" y="673"/>
                    </a:cubicBezTo>
                    <a:cubicBezTo>
                      <a:pt x="167" y="673"/>
                      <a:pt x="147" y="672"/>
                      <a:pt x="127" y="673"/>
                    </a:cubicBezTo>
                    <a:cubicBezTo>
                      <a:pt x="113" y="674"/>
                      <a:pt x="108" y="668"/>
                      <a:pt x="109" y="655"/>
                    </a:cubicBezTo>
                    <a:cubicBezTo>
                      <a:pt x="109" y="599"/>
                      <a:pt x="109" y="544"/>
                      <a:pt x="109" y="488"/>
                    </a:cubicBezTo>
                    <a:cubicBezTo>
                      <a:pt x="109" y="374"/>
                      <a:pt x="109" y="259"/>
                      <a:pt x="109" y="145"/>
                    </a:cubicBezTo>
                    <a:cubicBezTo>
                      <a:pt x="109" y="130"/>
                      <a:pt x="105" y="125"/>
                      <a:pt x="90" y="125"/>
                    </a:cubicBezTo>
                    <a:cubicBezTo>
                      <a:pt x="66" y="126"/>
                      <a:pt x="42" y="125"/>
                      <a:pt x="18" y="126"/>
                    </a:cubicBezTo>
                    <a:cubicBezTo>
                      <a:pt x="5" y="126"/>
                      <a:pt x="0" y="121"/>
                      <a:pt x="0" y="108"/>
                    </a:cubicBezTo>
                    <a:cubicBezTo>
                      <a:pt x="1" y="96"/>
                      <a:pt x="1" y="87"/>
                      <a:pt x="17" y="87"/>
                    </a:cubicBezTo>
                    <a:cubicBezTo>
                      <a:pt x="62" y="87"/>
                      <a:pt x="99" y="72"/>
                      <a:pt x="129" y="38"/>
                    </a:cubicBezTo>
                    <a:cubicBezTo>
                      <a:pt x="132" y="33"/>
                      <a:pt x="136" y="29"/>
                      <a:pt x="139" y="25"/>
                    </a:cubicBezTo>
                    <a:cubicBezTo>
                      <a:pt x="145" y="17"/>
                      <a:pt x="149" y="5"/>
                      <a:pt x="156" y="3"/>
                    </a:cubicBezTo>
                    <a:cubicBezTo>
                      <a:pt x="171" y="0"/>
                      <a:pt x="187" y="1"/>
                      <a:pt x="202" y="3"/>
                    </a:cubicBezTo>
                    <a:cubicBezTo>
                      <a:pt x="205" y="3"/>
                      <a:pt x="209" y="11"/>
                      <a:pt x="209" y="16"/>
                    </a:cubicBezTo>
                    <a:cubicBezTo>
                      <a:pt x="210" y="43"/>
                      <a:pt x="210" y="69"/>
                      <a:pt x="210" y="96"/>
                    </a:cubicBezTo>
                    <a:cubicBezTo>
                      <a:pt x="210" y="176"/>
                      <a:pt x="210" y="257"/>
                      <a:pt x="210" y="3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4" name="Freeform 7">
                <a:extLst>
                  <a:ext uri="{FF2B5EF4-FFF2-40B4-BE49-F238E27FC236}">
                    <a16:creationId xmlns:a16="http://schemas.microsoft.com/office/drawing/2014/main" id="{6CD28CFE-B59B-9410-674E-D27906916A8B}"/>
                  </a:ext>
                </a:extLst>
              </p:cNvPr>
              <p:cNvSpPr>
                <a:spLocks noEditPoints="1"/>
              </p:cNvSpPr>
              <p:nvPr/>
            </p:nvSpPr>
            <p:spPr bwMode="auto">
              <a:xfrm>
                <a:off x="3909" y="1579"/>
                <a:ext cx="364" cy="272"/>
              </a:xfrm>
              <a:custGeom>
                <a:avLst/>
                <a:gdLst>
                  <a:gd name="T0" fmla="*/ 85 w 178"/>
                  <a:gd name="T1" fmla="*/ 132 h 133"/>
                  <a:gd name="T2" fmla="*/ 15 w 178"/>
                  <a:gd name="T3" fmla="*/ 133 h 133"/>
                  <a:gd name="T4" fmla="*/ 0 w 178"/>
                  <a:gd name="T5" fmla="*/ 119 h 133"/>
                  <a:gd name="T6" fmla="*/ 2 w 178"/>
                  <a:gd name="T7" fmla="*/ 50 h 133"/>
                  <a:gd name="T8" fmla="*/ 42 w 178"/>
                  <a:gd name="T9" fmla="*/ 4 h 133"/>
                  <a:gd name="T10" fmla="*/ 93 w 178"/>
                  <a:gd name="T11" fmla="*/ 25 h 133"/>
                  <a:gd name="T12" fmla="*/ 108 w 178"/>
                  <a:gd name="T13" fmla="*/ 31 h 133"/>
                  <a:gd name="T14" fmla="*/ 153 w 178"/>
                  <a:gd name="T15" fmla="*/ 12 h 133"/>
                  <a:gd name="T16" fmla="*/ 173 w 178"/>
                  <a:gd name="T17" fmla="*/ 13 h 133"/>
                  <a:gd name="T18" fmla="*/ 164 w 178"/>
                  <a:gd name="T19" fmla="*/ 42 h 133"/>
                  <a:gd name="T20" fmla="*/ 120 w 178"/>
                  <a:gd name="T21" fmla="*/ 60 h 133"/>
                  <a:gd name="T22" fmla="*/ 103 w 178"/>
                  <a:gd name="T23" fmla="*/ 83 h 133"/>
                  <a:gd name="T24" fmla="*/ 119 w 178"/>
                  <a:gd name="T25" fmla="*/ 98 h 133"/>
                  <a:gd name="T26" fmla="*/ 157 w 178"/>
                  <a:gd name="T27" fmla="*/ 98 h 133"/>
                  <a:gd name="T28" fmla="*/ 174 w 178"/>
                  <a:gd name="T29" fmla="*/ 114 h 133"/>
                  <a:gd name="T30" fmla="*/ 156 w 178"/>
                  <a:gd name="T31" fmla="*/ 133 h 133"/>
                  <a:gd name="T32" fmla="*/ 85 w 178"/>
                  <a:gd name="T33" fmla="*/ 133 h 133"/>
                  <a:gd name="T34" fmla="*/ 85 w 178"/>
                  <a:gd name="T35" fmla="*/ 132 h 133"/>
                  <a:gd name="T36" fmla="*/ 77 w 178"/>
                  <a:gd name="T37" fmla="*/ 79 h 133"/>
                  <a:gd name="T38" fmla="*/ 74 w 178"/>
                  <a:gd name="T39" fmla="*/ 56 h 133"/>
                  <a:gd name="T40" fmla="*/ 52 w 178"/>
                  <a:gd name="T41" fmla="*/ 39 h 133"/>
                  <a:gd name="T42" fmla="*/ 33 w 178"/>
                  <a:gd name="T43" fmla="*/ 58 h 133"/>
                  <a:gd name="T44" fmla="*/ 32 w 178"/>
                  <a:gd name="T45" fmla="*/ 85 h 133"/>
                  <a:gd name="T46" fmla="*/ 37 w 178"/>
                  <a:gd name="T47" fmla="*/ 96 h 133"/>
                  <a:gd name="T48" fmla="*/ 70 w 178"/>
                  <a:gd name="T49" fmla="*/ 96 h 133"/>
                  <a:gd name="T50" fmla="*/ 77 w 178"/>
                  <a:gd name="T51" fmla="*/ 7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8" h="133">
                    <a:moveTo>
                      <a:pt x="85" y="132"/>
                    </a:moveTo>
                    <a:cubicBezTo>
                      <a:pt x="62" y="132"/>
                      <a:pt x="39" y="132"/>
                      <a:pt x="15" y="133"/>
                    </a:cubicBezTo>
                    <a:cubicBezTo>
                      <a:pt x="5" y="133"/>
                      <a:pt x="0" y="130"/>
                      <a:pt x="0" y="119"/>
                    </a:cubicBezTo>
                    <a:cubicBezTo>
                      <a:pt x="1" y="96"/>
                      <a:pt x="0" y="73"/>
                      <a:pt x="2" y="50"/>
                    </a:cubicBezTo>
                    <a:cubicBezTo>
                      <a:pt x="4" y="26"/>
                      <a:pt x="18" y="10"/>
                      <a:pt x="42" y="4"/>
                    </a:cubicBezTo>
                    <a:cubicBezTo>
                      <a:pt x="58" y="0"/>
                      <a:pt x="80" y="3"/>
                      <a:pt x="93" y="25"/>
                    </a:cubicBezTo>
                    <a:cubicBezTo>
                      <a:pt x="95" y="29"/>
                      <a:pt x="104" y="32"/>
                      <a:pt x="108" y="31"/>
                    </a:cubicBezTo>
                    <a:cubicBezTo>
                      <a:pt x="123" y="26"/>
                      <a:pt x="138" y="18"/>
                      <a:pt x="153" y="12"/>
                    </a:cubicBezTo>
                    <a:cubicBezTo>
                      <a:pt x="159" y="9"/>
                      <a:pt x="168" y="2"/>
                      <a:pt x="173" y="13"/>
                    </a:cubicBezTo>
                    <a:cubicBezTo>
                      <a:pt x="178" y="24"/>
                      <a:pt x="173" y="38"/>
                      <a:pt x="164" y="42"/>
                    </a:cubicBezTo>
                    <a:cubicBezTo>
                      <a:pt x="149" y="48"/>
                      <a:pt x="135" y="54"/>
                      <a:pt x="120" y="60"/>
                    </a:cubicBezTo>
                    <a:cubicBezTo>
                      <a:pt x="109" y="64"/>
                      <a:pt x="102" y="70"/>
                      <a:pt x="103" y="83"/>
                    </a:cubicBezTo>
                    <a:cubicBezTo>
                      <a:pt x="104" y="94"/>
                      <a:pt x="109" y="98"/>
                      <a:pt x="119" y="98"/>
                    </a:cubicBezTo>
                    <a:cubicBezTo>
                      <a:pt x="132" y="98"/>
                      <a:pt x="144" y="98"/>
                      <a:pt x="157" y="98"/>
                    </a:cubicBezTo>
                    <a:cubicBezTo>
                      <a:pt x="168" y="98"/>
                      <a:pt x="175" y="101"/>
                      <a:pt x="174" y="114"/>
                    </a:cubicBezTo>
                    <a:cubicBezTo>
                      <a:pt x="174" y="128"/>
                      <a:pt x="170" y="133"/>
                      <a:pt x="156" y="133"/>
                    </a:cubicBezTo>
                    <a:cubicBezTo>
                      <a:pt x="132" y="132"/>
                      <a:pt x="109" y="133"/>
                      <a:pt x="85" y="133"/>
                    </a:cubicBezTo>
                    <a:cubicBezTo>
                      <a:pt x="85" y="133"/>
                      <a:pt x="85" y="132"/>
                      <a:pt x="85" y="132"/>
                    </a:cubicBezTo>
                    <a:close/>
                    <a:moveTo>
                      <a:pt x="77" y="79"/>
                    </a:moveTo>
                    <a:cubicBezTo>
                      <a:pt x="76" y="69"/>
                      <a:pt x="76" y="62"/>
                      <a:pt x="74" y="56"/>
                    </a:cubicBezTo>
                    <a:cubicBezTo>
                      <a:pt x="71" y="46"/>
                      <a:pt x="64" y="39"/>
                      <a:pt x="52" y="39"/>
                    </a:cubicBezTo>
                    <a:cubicBezTo>
                      <a:pt x="41" y="40"/>
                      <a:pt x="34" y="46"/>
                      <a:pt x="33" y="58"/>
                    </a:cubicBezTo>
                    <a:cubicBezTo>
                      <a:pt x="32" y="67"/>
                      <a:pt x="31" y="76"/>
                      <a:pt x="32" y="85"/>
                    </a:cubicBezTo>
                    <a:cubicBezTo>
                      <a:pt x="32" y="89"/>
                      <a:pt x="35" y="96"/>
                      <a:pt x="37" y="96"/>
                    </a:cubicBezTo>
                    <a:cubicBezTo>
                      <a:pt x="48" y="97"/>
                      <a:pt x="60" y="99"/>
                      <a:pt x="70" y="96"/>
                    </a:cubicBezTo>
                    <a:cubicBezTo>
                      <a:pt x="74" y="95"/>
                      <a:pt x="76" y="83"/>
                      <a:pt x="77"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5" name="Freeform 8">
                <a:extLst>
                  <a:ext uri="{FF2B5EF4-FFF2-40B4-BE49-F238E27FC236}">
                    <a16:creationId xmlns:a16="http://schemas.microsoft.com/office/drawing/2014/main" id="{CFB6E3E4-50E9-EC87-892D-318583C3382F}"/>
                  </a:ext>
                </a:extLst>
              </p:cNvPr>
              <p:cNvSpPr>
                <a:spLocks noEditPoints="1"/>
              </p:cNvSpPr>
              <p:nvPr/>
            </p:nvSpPr>
            <p:spPr bwMode="auto">
              <a:xfrm>
                <a:off x="3895" y="2273"/>
                <a:ext cx="401" cy="327"/>
              </a:xfrm>
              <a:custGeom>
                <a:avLst/>
                <a:gdLst>
                  <a:gd name="T0" fmla="*/ 96 w 196"/>
                  <a:gd name="T1" fmla="*/ 0 h 160"/>
                  <a:gd name="T2" fmla="*/ 165 w 196"/>
                  <a:gd name="T3" fmla="*/ 24 h 160"/>
                  <a:gd name="T4" fmla="*/ 137 w 196"/>
                  <a:gd name="T5" fmla="*/ 146 h 160"/>
                  <a:gd name="T6" fmla="*/ 21 w 196"/>
                  <a:gd name="T7" fmla="*/ 125 h 160"/>
                  <a:gd name="T8" fmla="*/ 9 w 196"/>
                  <a:gd name="T9" fmla="*/ 48 h 160"/>
                  <a:gd name="T10" fmla="*/ 65 w 196"/>
                  <a:gd name="T11" fmla="*/ 3 h 160"/>
                  <a:gd name="T12" fmla="*/ 96 w 196"/>
                  <a:gd name="T13" fmla="*/ 0 h 160"/>
                  <a:gd name="T14" fmla="*/ 89 w 196"/>
                  <a:gd name="T15" fmla="*/ 120 h 160"/>
                  <a:gd name="T16" fmla="*/ 128 w 196"/>
                  <a:gd name="T17" fmla="*/ 111 h 160"/>
                  <a:gd name="T18" fmla="*/ 153 w 196"/>
                  <a:gd name="T19" fmla="*/ 77 h 160"/>
                  <a:gd name="T20" fmla="*/ 131 w 196"/>
                  <a:gd name="T21" fmla="*/ 43 h 160"/>
                  <a:gd name="T22" fmla="*/ 56 w 196"/>
                  <a:gd name="T23" fmla="*/ 43 h 160"/>
                  <a:gd name="T24" fmla="*/ 49 w 196"/>
                  <a:gd name="T25" fmla="*/ 105 h 160"/>
                  <a:gd name="T26" fmla="*/ 89 w 196"/>
                  <a:gd name="T2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 h="160">
                    <a:moveTo>
                      <a:pt x="96" y="0"/>
                    </a:moveTo>
                    <a:cubicBezTo>
                      <a:pt x="122" y="0"/>
                      <a:pt x="146" y="5"/>
                      <a:pt x="165" y="24"/>
                    </a:cubicBezTo>
                    <a:cubicBezTo>
                      <a:pt x="196" y="55"/>
                      <a:pt x="190" y="127"/>
                      <a:pt x="137" y="146"/>
                    </a:cubicBezTo>
                    <a:cubicBezTo>
                      <a:pt x="96" y="160"/>
                      <a:pt x="45" y="152"/>
                      <a:pt x="21" y="125"/>
                    </a:cubicBezTo>
                    <a:cubicBezTo>
                      <a:pt x="0" y="102"/>
                      <a:pt x="0" y="75"/>
                      <a:pt x="9" y="48"/>
                    </a:cubicBezTo>
                    <a:cubicBezTo>
                      <a:pt x="18" y="22"/>
                      <a:pt x="38" y="8"/>
                      <a:pt x="65" y="3"/>
                    </a:cubicBezTo>
                    <a:cubicBezTo>
                      <a:pt x="75" y="1"/>
                      <a:pt x="85" y="1"/>
                      <a:pt x="96" y="0"/>
                    </a:cubicBezTo>
                    <a:close/>
                    <a:moveTo>
                      <a:pt x="89" y="120"/>
                    </a:moveTo>
                    <a:cubicBezTo>
                      <a:pt x="104" y="116"/>
                      <a:pt x="116" y="114"/>
                      <a:pt x="128" y="111"/>
                    </a:cubicBezTo>
                    <a:cubicBezTo>
                      <a:pt x="144" y="106"/>
                      <a:pt x="151" y="93"/>
                      <a:pt x="153" y="77"/>
                    </a:cubicBezTo>
                    <a:cubicBezTo>
                      <a:pt x="155" y="63"/>
                      <a:pt x="146" y="50"/>
                      <a:pt x="131" y="43"/>
                    </a:cubicBezTo>
                    <a:cubicBezTo>
                      <a:pt x="106" y="32"/>
                      <a:pt x="81" y="32"/>
                      <a:pt x="56" y="43"/>
                    </a:cubicBezTo>
                    <a:cubicBezTo>
                      <a:pt x="29" y="55"/>
                      <a:pt x="25" y="88"/>
                      <a:pt x="49" y="105"/>
                    </a:cubicBezTo>
                    <a:cubicBezTo>
                      <a:pt x="61" y="113"/>
                      <a:pt x="77" y="115"/>
                      <a:pt x="89"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6" name="Freeform 9">
                <a:extLst>
                  <a:ext uri="{FF2B5EF4-FFF2-40B4-BE49-F238E27FC236}">
                    <a16:creationId xmlns:a16="http://schemas.microsoft.com/office/drawing/2014/main" id="{AC137379-D5FB-693B-78A5-4F4E35B3E7EF}"/>
                  </a:ext>
                </a:extLst>
              </p:cNvPr>
              <p:cNvSpPr>
                <a:spLocks/>
              </p:cNvSpPr>
              <p:nvPr/>
            </p:nvSpPr>
            <p:spPr bwMode="auto">
              <a:xfrm>
                <a:off x="3893" y="3228"/>
                <a:ext cx="290" cy="260"/>
              </a:xfrm>
              <a:custGeom>
                <a:avLst/>
                <a:gdLst>
                  <a:gd name="T0" fmla="*/ 0 w 142"/>
                  <a:gd name="T1" fmla="*/ 67 h 127"/>
                  <a:gd name="T2" fmla="*/ 0 w 142"/>
                  <a:gd name="T3" fmla="*/ 30 h 127"/>
                  <a:gd name="T4" fmla="*/ 12 w 142"/>
                  <a:gd name="T5" fmla="*/ 17 h 127"/>
                  <a:gd name="T6" fmla="*/ 99 w 142"/>
                  <a:gd name="T7" fmla="*/ 2 h 127"/>
                  <a:gd name="T8" fmla="*/ 117 w 142"/>
                  <a:gd name="T9" fmla="*/ 13 h 127"/>
                  <a:gd name="T10" fmla="*/ 139 w 142"/>
                  <a:gd name="T11" fmla="*/ 89 h 127"/>
                  <a:gd name="T12" fmla="*/ 128 w 142"/>
                  <a:gd name="T13" fmla="*/ 107 h 127"/>
                  <a:gd name="T14" fmla="*/ 24 w 142"/>
                  <a:gd name="T15" fmla="*/ 125 h 127"/>
                  <a:gd name="T16" fmla="*/ 3 w 142"/>
                  <a:gd name="T17" fmla="*/ 106 h 127"/>
                  <a:gd name="T18" fmla="*/ 1 w 142"/>
                  <a:gd name="T19" fmla="*/ 67 h 127"/>
                  <a:gd name="T20" fmla="*/ 0 w 142"/>
                  <a:gd name="T21" fmla="*/ 6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127">
                    <a:moveTo>
                      <a:pt x="0" y="67"/>
                    </a:moveTo>
                    <a:cubicBezTo>
                      <a:pt x="0" y="55"/>
                      <a:pt x="0" y="42"/>
                      <a:pt x="0" y="30"/>
                    </a:cubicBezTo>
                    <a:cubicBezTo>
                      <a:pt x="0" y="21"/>
                      <a:pt x="3" y="18"/>
                      <a:pt x="12" y="17"/>
                    </a:cubicBezTo>
                    <a:cubicBezTo>
                      <a:pt x="41" y="12"/>
                      <a:pt x="70" y="7"/>
                      <a:pt x="99" y="2"/>
                    </a:cubicBezTo>
                    <a:cubicBezTo>
                      <a:pt x="108" y="0"/>
                      <a:pt x="114" y="1"/>
                      <a:pt x="117" y="13"/>
                    </a:cubicBezTo>
                    <a:cubicBezTo>
                      <a:pt x="123" y="38"/>
                      <a:pt x="131" y="64"/>
                      <a:pt x="139" y="89"/>
                    </a:cubicBezTo>
                    <a:cubicBezTo>
                      <a:pt x="142" y="100"/>
                      <a:pt x="139" y="105"/>
                      <a:pt x="128" y="107"/>
                    </a:cubicBezTo>
                    <a:cubicBezTo>
                      <a:pt x="94" y="113"/>
                      <a:pt x="59" y="120"/>
                      <a:pt x="24" y="125"/>
                    </a:cubicBezTo>
                    <a:cubicBezTo>
                      <a:pt x="6" y="127"/>
                      <a:pt x="4" y="125"/>
                      <a:pt x="3" y="106"/>
                    </a:cubicBezTo>
                    <a:cubicBezTo>
                      <a:pt x="2" y="93"/>
                      <a:pt x="2" y="80"/>
                      <a:pt x="1" y="67"/>
                    </a:cubicBezTo>
                    <a:cubicBezTo>
                      <a:pt x="1" y="67"/>
                      <a:pt x="0" y="67"/>
                      <a:pt x="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7" name="Freeform 10">
                <a:extLst>
                  <a:ext uri="{FF2B5EF4-FFF2-40B4-BE49-F238E27FC236}">
                    <a16:creationId xmlns:a16="http://schemas.microsoft.com/office/drawing/2014/main" id="{F2836467-6253-04AD-132A-23E9C6059801}"/>
                  </a:ext>
                </a:extLst>
              </p:cNvPr>
              <p:cNvSpPr>
                <a:spLocks/>
              </p:cNvSpPr>
              <p:nvPr/>
            </p:nvSpPr>
            <p:spPr bwMode="auto">
              <a:xfrm>
                <a:off x="3907" y="2647"/>
                <a:ext cx="360" cy="274"/>
              </a:xfrm>
              <a:custGeom>
                <a:avLst/>
                <a:gdLst>
                  <a:gd name="T0" fmla="*/ 89 w 176"/>
                  <a:gd name="T1" fmla="*/ 1 h 134"/>
                  <a:gd name="T2" fmla="*/ 159 w 176"/>
                  <a:gd name="T3" fmla="*/ 1 h 134"/>
                  <a:gd name="T4" fmla="*/ 175 w 176"/>
                  <a:gd name="T5" fmla="*/ 17 h 134"/>
                  <a:gd name="T6" fmla="*/ 158 w 176"/>
                  <a:gd name="T7" fmla="*/ 35 h 134"/>
                  <a:gd name="T8" fmla="*/ 115 w 176"/>
                  <a:gd name="T9" fmla="*/ 35 h 134"/>
                  <a:gd name="T10" fmla="*/ 100 w 176"/>
                  <a:gd name="T11" fmla="*/ 50 h 134"/>
                  <a:gd name="T12" fmla="*/ 100 w 176"/>
                  <a:gd name="T13" fmla="*/ 86 h 134"/>
                  <a:gd name="T14" fmla="*/ 116 w 176"/>
                  <a:gd name="T15" fmla="*/ 100 h 134"/>
                  <a:gd name="T16" fmla="*/ 161 w 176"/>
                  <a:gd name="T17" fmla="*/ 100 h 134"/>
                  <a:gd name="T18" fmla="*/ 175 w 176"/>
                  <a:gd name="T19" fmla="*/ 117 h 134"/>
                  <a:gd name="T20" fmla="*/ 160 w 176"/>
                  <a:gd name="T21" fmla="*/ 134 h 134"/>
                  <a:gd name="T22" fmla="*/ 15 w 176"/>
                  <a:gd name="T23" fmla="*/ 134 h 134"/>
                  <a:gd name="T24" fmla="*/ 1 w 176"/>
                  <a:gd name="T25" fmla="*/ 116 h 134"/>
                  <a:gd name="T26" fmla="*/ 15 w 176"/>
                  <a:gd name="T27" fmla="*/ 100 h 134"/>
                  <a:gd name="T28" fmla="*/ 53 w 176"/>
                  <a:gd name="T29" fmla="*/ 100 h 134"/>
                  <a:gd name="T30" fmla="*/ 69 w 176"/>
                  <a:gd name="T31" fmla="*/ 84 h 134"/>
                  <a:gd name="T32" fmla="*/ 69 w 176"/>
                  <a:gd name="T33" fmla="*/ 77 h 134"/>
                  <a:gd name="T34" fmla="*/ 26 w 176"/>
                  <a:gd name="T35" fmla="*/ 35 h 134"/>
                  <a:gd name="T36" fmla="*/ 1 w 176"/>
                  <a:gd name="T37" fmla="*/ 22 h 134"/>
                  <a:gd name="T38" fmla="*/ 21 w 176"/>
                  <a:gd name="T39" fmla="*/ 1 h 134"/>
                  <a:gd name="T40" fmla="*/ 89 w 176"/>
                  <a:gd name="T41" fmla="*/ 1 h 134"/>
                  <a:gd name="T42" fmla="*/ 89 w 176"/>
                  <a:gd name="T43" fmla="*/ 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6" h="134">
                    <a:moveTo>
                      <a:pt x="89" y="1"/>
                    </a:moveTo>
                    <a:cubicBezTo>
                      <a:pt x="112" y="1"/>
                      <a:pt x="135" y="1"/>
                      <a:pt x="159" y="1"/>
                    </a:cubicBezTo>
                    <a:cubicBezTo>
                      <a:pt x="171" y="0"/>
                      <a:pt x="176" y="5"/>
                      <a:pt x="175" y="17"/>
                    </a:cubicBezTo>
                    <a:cubicBezTo>
                      <a:pt x="175" y="30"/>
                      <a:pt x="171" y="36"/>
                      <a:pt x="158" y="35"/>
                    </a:cubicBezTo>
                    <a:cubicBezTo>
                      <a:pt x="144" y="34"/>
                      <a:pt x="129" y="36"/>
                      <a:pt x="115" y="35"/>
                    </a:cubicBezTo>
                    <a:cubicBezTo>
                      <a:pt x="103" y="34"/>
                      <a:pt x="99" y="39"/>
                      <a:pt x="100" y="50"/>
                    </a:cubicBezTo>
                    <a:cubicBezTo>
                      <a:pt x="100" y="62"/>
                      <a:pt x="100" y="74"/>
                      <a:pt x="100" y="86"/>
                    </a:cubicBezTo>
                    <a:cubicBezTo>
                      <a:pt x="100" y="97"/>
                      <a:pt x="105" y="101"/>
                      <a:pt x="116" y="100"/>
                    </a:cubicBezTo>
                    <a:cubicBezTo>
                      <a:pt x="131" y="100"/>
                      <a:pt x="146" y="100"/>
                      <a:pt x="161" y="100"/>
                    </a:cubicBezTo>
                    <a:cubicBezTo>
                      <a:pt x="173" y="100"/>
                      <a:pt x="176" y="106"/>
                      <a:pt x="175" y="117"/>
                    </a:cubicBezTo>
                    <a:cubicBezTo>
                      <a:pt x="175" y="128"/>
                      <a:pt x="173" y="134"/>
                      <a:pt x="160" y="134"/>
                    </a:cubicBezTo>
                    <a:cubicBezTo>
                      <a:pt x="112" y="134"/>
                      <a:pt x="63" y="134"/>
                      <a:pt x="15" y="134"/>
                    </a:cubicBezTo>
                    <a:cubicBezTo>
                      <a:pt x="2" y="134"/>
                      <a:pt x="1" y="126"/>
                      <a:pt x="1" y="116"/>
                    </a:cubicBezTo>
                    <a:cubicBezTo>
                      <a:pt x="1" y="107"/>
                      <a:pt x="2" y="100"/>
                      <a:pt x="15" y="100"/>
                    </a:cubicBezTo>
                    <a:cubicBezTo>
                      <a:pt x="27" y="101"/>
                      <a:pt x="40" y="100"/>
                      <a:pt x="53" y="100"/>
                    </a:cubicBezTo>
                    <a:cubicBezTo>
                      <a:pt x="65" y="101"/>
                      <a:pt x="70" y="96"/>
                      <a:pt x="69" y="84"/>
                    </a:cubicBezTo>
                    <a:cubicBezTo>
                      <a:pt x="69" y="82"/>
                      <a:pt x="69" y="79"/>
                      <a:pt x="69" y="77"/>
                    </a:cubicBezTo>
                    <a:cubicBezTo>
                      <a:pt x="69" y="35"/>
                      <a:pt x="69" y="35"/>
                      <a:pt x="26" y="35"/>
                    </a:cubicBezTo>
                    <a:cubicBezTo>
                      <a:pt x="17" y="35"/>
                      <a:pt x="3" y="41"/>
                      <a:pt x="1" y="22"/>
                    </a:cubicBezTo>
                    <a:cubicBezTo>
                      <a:pt x="0" y="3"/>
                      <a:pt x="2" y="1"/>
                      <a:pt x="21" y="1"/>
                    </a:cubicBezTo>
                    <a:cubicBezTo>
                      <a:pt x="44" y="1"/>
                      <a:pt x="66" y="1"/>
                      <a:pt x="89" y="1"/>
                    </a:cubicBezTo>
                    <a:cubicBezTo>
                      <a:pt x="89" y="1"/>
                      <a:pt x="89" y="1"/>
                      <a:pt x="8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8" name="Freeform 11">
                <a:extLst>
                  <a:ext uri="{FF2B5EF4-FFF2-40B4-BE49-F238E27FC236}">
                    <a16:creationId xmlns:a16="http://schemas.microsoft.com/office/drawing/2014/main" id="{10FFA2F2-C3AE-16C9-DED3-2B92E0BC55E2}"/>
                  </a:ext>
                </a:extLst>
              </p:cNvPr>
              <p:cNvSpPr>
                <a:spLocks/>
              </p:cNvSpPr>
              <p:nvPr/>
            </p:nvSpPr>
            <p:spPr bwMode="auto">
              <a:xfrm>
                <a:off x="3901" y="1931"/>
                <a:ext cx="379" cy="284"/>
              </a:xfrm>
              <a:custGeom>
                <a:avLst/>
                <a:gdLst>
                  <a:gd name="T0" fmla="*/ 73 w 185"/>
                  <a:gd name="T1" fmla="*/ 137 h 139"/>
                  <a:gd name="T2" fmla="*/ 18 w 185"/>
                  <a:gd name="T3" fmla="*/ 137 h 139"/>
                  <a:gd name="T4" fmla="*/ 4 w 185"/>
                  <a:gd name="T5" fmla="*/ 121 h 139"/>
                  <a:gd name="T6" fmla="*/ 17 w 185"/>
                  <a:gd name="T7" fmla="*/ 103 h 139"/>
                  <a:gd name="T8" fmla="*/ 115 w 185"/>
                  <a:gd name="T9" fmla="*/ 103 h 139"/>
                  <a:gd name="T10" fmla="*/ 148 w 185"/>
                  <a:gd name="T11" fmla="*/ 64 h 139"/>
                  <a:gd name="T12" fmla="*/ 120 w 185"/>
                  <a:gd name="T13" fmla="*/ 36 h 139"/>
                  <a:gd name="T14" fmla="*/ 26 w 185"/>
                  <a:gd name="T15" fmla="*/ 35 h 139"/>
                  <a:gd name="T16" fmla="*/ 5 w 185"/>
                  <a:gd name="T17" fmla="*/ 10 h 139"/>
                  <a:gd name="T18" fmla="*/ 15 w 185"/>
                  <a:gd name="T19" fmla="*/ 1 h 139"/>
                  <a:gd name="T20" fmla="*/ 132 w 185"/>
                  <a:gd name="T21" fmla="*/ 2 h 139"/>
                  <a:gd name="T22" fmla="*/ 175 w 185"/>
                  <a:gd name="T23" fmla="*/ 36 h 139"/>
                  <a:gd name="T24" fmla="*/ 168 w 185"/>
                  <a:gd name="T25" fmla="*/ 114 h 139"/>
                  <a:gd name="T26" fmla="*/ 131 w 185"/>
                  <a:gd name="T27" fmla="*/ 135 h 139"/>
                  <a:gd name="T28" fmla="*/ 73 w 185"/>
                  <a:gd name="T29" fmla="*/ 136 h 139"/>
                  <a:gd name="T30" fmla="*/ 73 w 185"/>
                  <a:gd name="T31" fmla="*/ 13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5" h="139">
                    <a:moveTo>
                      <a:pt x="73" y="137"/>
                    </a:moveTo>
                    <a:cubicBezTo>
                      <a:pt x="54" y="137"/>
                      <a:pt x="36" y="137"/>
                      <a:pt x="18" y="137"/>
                    </a:cubicBezTo>
                    <a:cubicBezTo>
                      <a:pt x="5" y="138"/>
                      <a:pt x="4" y="130"/>
                      <a:pt x="4" y="121"/>
                    </a:cubicBezTo>
                    <a:cubicBezTo>
                      <a:pt x="4" y="112"/>
                      <a:pt x="3" y="103"/>
                      <a:pt x="17" y="103"/>
                    </a:cubicBezTo>
                    <a:cubicBezTo>
                      <a:pt x="50" y="103"/>
                      <a:pt x="82" y="103"/>
                      <a:pt x="115" y="103"/>
                    </a:cubicBezTo>
                    <a:cubicBezTo>
                      <a:pt x="138" y="102"/>
                      <a:pt x="151" y="86"/>
                      <a:pt x="148" y="64"/>
                    </a:cubicBezTo>
                    <a:cubicBezTo>
                      <a:pt x="146" y="47"/>
                      <a:pt x="137" y="37"/>
                      <a:pt x="120" y="36"/>
                    </a:cubicBezTo>
                    <a:cubicBezTo>
                      <a:pt x="89" y="35"/>
                      <a:pt x="57" y="35"/>
                      <a:pt x="26" y="35"/>
                    </a:cubicBezTo>
                    <a:cubicBezTo>
                      <a:pt x="6" y="35"/>
                      <a:pt x="0" y="29"/>
                      <a:pt x="5" y="10"/>
                    </a:cubicBezTo>
                    <a:cubicBezTo>
                      <a:pt x="6" y="6"/>
                      <a:pt x="12" y="1"/>
                      <a:pt x="15" y="1"/>
                    </a:cubicBezTo>
                    <a:cubicBezTo>
                      <a:pt x="54" y="0"/>
                      <a:pt x="93" y="1"/>
                      <a:pt x="132" y="2"/>
                    </a:cubicBezTo>
                    <a:cubicBezTo>
                      <a:pt x="153" y="3"/>
                      <a:pt x="169" y="16"/>
                      <a:pt x="175" y="36"/>
                    </a:cubicBezTo>
                    <a:cubicBezTo>
                      <a:pt x="184" y="63"/>
                      <a:pt x="185" y="91"/>
                      <a:pt x="168" y="114"/>
                    </a:cubicBezTo>
                    <a:cubicBezTo>
                      <a:pt x="161" y="125"/>
                      <a:pt x="145" y="133"/>
                      <a:pt x="131" y="135"/>
                    </a:cubicBezTo>
                    <a:cubicBezTo>
                      <a:pt x="112" y="139"/>
                      <a:pt x="92" y="136"/>
                      <a:pt x="73" y="136"/>
                    </a:cubicBezTo>
                    <a:cubicBezTo>
                      <a:pt x="73" y="137"/>
                      <a:pt x="73" y="137"/>
                      <a:pt x="73"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19" name="Freeform 12">
                <a:extLst>
                  <a:ext uri="{FF2B5EF4-FFF2-40B4-BE49-F238E27FC236}">
                    <a16:creationId xmlns:a16="http://schemas.microsoft.com/office/drawing/2014/main" id="{D4B3AB0B-0253-48FF-D0C9-B79466A10904}"/>
                  </a:ext>
                </a:extLst>
              </p:cNvPr>
              <p:cNvSpPr>
                <a:spLocks/>
              </p:cNvSpPr>
              <p:nvPr/>
            </p:nvSpPr>
            <p:spPr bwMode="auto">
              <a:xfrm>
                <a:off x="4163" y="3132"/>
                <a:ext cx="298" cy="288"/>
              </a:xfrm>
              <a:custGeom>
                <a:avLst/>
                <a:gdLst>
                  <a:gd name="T0" fmla="*/ 37 w 146"/>
                  <a:gd name="T1" fmla="*/ 141 h 141"/>
                  <a:gd name="T2" fmla="*/ 28 w 146"/>
                  <a:gd name="T3" fmla="*/ 131 h 141"/>
                  <a:gd name="T4" fmla="*/ 2 w 146"/>
                  <a:gd name="T5" fmla="*/ 54 h 141"/>
                  <a:gd name="T6" fmla="*/ 9 w 146"/>
                  <a:gd name="T7" fmla="*/ 37 h 141"/>
                  <a:gd name="T8" fmla="*/ 87 w 146"/>
                  <a:gd name="T9" fmla="*/ 1 h 141"/>
                  <a:gd name="T10" fmla="*/ 100 w 146"/>
                  <a:gd name="T11" fmla="*/ 6 h 141"/>
                  <a:gd name="T12" fmla="*/ 144 w 146"/>
                  <a:gd name="T13" fmla="*/ 80 h 141"/>
                  <a:gd name="T14" fmla="*/ 142 w 146"/>
                  <a:gd name="T15" fmla="*/ 94 h 141"/>
                  <a:gd name="T16" fmla="*/ 43 w 146"/>
                  <a:gd name="T17" fmla="*/ 140 h 141"/>
                  <a:gd name="T18" fmla="*/ 37 w 146"/>
                  <a:gd name="T19"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1">
                    <a:moveTo>
                      <a:pt x="37" y="141"/>
                    </a:moveTo>
                    <a:cubicBezTo>
                      <a:pt x="35" y="138"/>
                      <a:pt x="29" y="136"/>
                      <a:pt x="28" y="131"/>
                    </a:cubicBezTo>
                    <a:cubicBezTo>
                      <a:pt x="19" y="106"/>
                      <a:pt x="10" y="80"/>
                      <a:pt x="2" y="54"/>
                    </a:cubicBezTo>
                    <a:cubicBezTo>
                      <a:pt x="0" y="46"/>
                      <a:pt x="0" y="41"/>
                      <a:pt x="9" y="37"/>
                    </a:cubicBezTo>
                    <a:cubicBezTo>
                      <a:pt x="35" y="25"/>
                      <a:pt x="61" y="12"/>
                      <a:pt x="87" y="1"/>
                    </a:cubicBezTo>
                    <a:cubicBezTo>
                      <a:pt x="91" y="0"/>
                      <a:pt x="98" y="2"/>
                      <a:pt x="100" y="6"/>
                    </a:cubicBezTo>
                    <a:cubicBezTo>
                      <a:pt x="116" y="30"/>
                      <a:pt x="130" y="55"/>
                      <a:pt x="144" y="80"/>
                    </a:cubicBezTo>
                    <a:cubicBezTo>
                      <a:pt x="146" y="83"/>
                      <a:pt x="144" y="93"/>
                      <a:pt x="142" y="94"/>
                    </a:cubicBezTo>
                    <a:cubicBezTo>
                      <a:pt x="109" y="110"/>
                      <a:pt x="76" y="125"/>
                      <a:pt x="43" y="140"/>
                    </a:cubicBezTo>
                    <a:cubicBezTo>
                      <a:pt x="42" y="140"/>
                      <a:pt x="41" y="140"/>
                      <a:pt x="37" y="1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0" name="Freeform 13">
                <a:extLst>
                  <a:ext uri="{FF2B5EF4-FFF2-40B4-BE49-F238E27FC236}">
                    <a16:creationId xmlns:a16="http://schemas.microsoft.com/office/drawing/2014/main" id="{9F72E794-7A3D-F240-5068-E36721FC5FD7}"/>
                  </a:ext>
                </a:extLst>
              </p:cNvPr>
              <p:cNvSpPr>
                <a:spLocks/>
              </p:cNvSpPr>
              <p:nvPr/>
            </p:nvSpPr>
            <p:spPr bwMode="auto">
              <a:xfrm>
                <a:off x="4406" y="2972"/>
                <a:ext cx="309" cy="313"/>
              </a:xfrm>
              <a:custGeom>
                <a:avLst/>
                <a:gdLst>
                  <a:gd name="T0" fmla="*/ 61 w 151"/>
                  <a:gd name="T1" fmla="*/ 153 h 153"/>
                  <a:gd name="T2" fmla="*/ 0 w 151"/>
                  <a:gd name="T3" fmla="*/ 63 h 153"/>
                  <a:gd name="T4" fmla="*/ 11 w 151"/>
                  <a:gd name="T5" fmla="*/ 52 h 153"/>
                  <a:gd name="T6" fmla="*/ 65 w 151"/>
                  <a:gd name="T7" fmla="*/ 7 h 153"/>
                  <a:gd name="T8" fmla="*/ 86 w 151"/>
                  <a:gd name="T9" fmla="*/ 8 h 153"/>
                  <a:gd name="T10" fmla="*/ 143 w 151"/>
                  <a:gd name="T11" fmla="*/ 65 h 153"/>
                  <a:gd name="T12" fmla="*/ 144 w 151"/>
                  <a:gd name="T13" fmla="*/ 83 h 153"/>
                  <a:gd name="T14" fmla="*/ 61 w 151"/>
                  <a:gd name="T15" fmla="*/ 153 h 1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153">
                    <a:moveTo>
                      <a:pt x="61" y="153"/>
                    </a:moveTo>
                    <a:cubicBezTo>
                      <a:pt x="39" y="121"/>
                      <a:pt x="20" y="92"/>
                      <a:pt x="0" y="63"/>
                    </a:cubicBezTo>
                    <a:cubicBezTo>
                      <a:pt x="4" y="59"/>
                      <a:pt x="7" y="55"/>
                      <a:pt x="11" y="52"/>
                    </a:cubicBezTo>
                    <a:cubicBezTo>
                      <a:pt x="29" y="37"/>
                      <a:pt x="48" y="23"/>
                      <a:pt x="65" y="7"/>
                    </a:cubicBezTo>
                    <a:cubicBezTo>
                      <a:pt x="73" y="1"/>
                      <a:pt x="79" y="0"/>
                      <a:pt x="86" y="8"/>
                    </a:cubicBezTo>
                    <a:cubicBezTo>
                      <a:pt x="105" y="27"/>
                      <a:pt x="124" y="46"/>
                      <a:pt x="143" y="65"/>
                    </a:cubicBezTo>
                    <a:cubicBezTo>
                      <a:pt x="150" y="71"/>
                      <a:pt x="151" y="77"/>
                      <a:pt x="144" y="83"/>
                    </a:cubicBezTo>
                    <a:cubicBezTo>
                      <a:pt x="117" y="105"/>
                      <a:pt x="90" y="128"/>
                      <a:pt x="6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1" name="Freeform 14">
                <a:extLst>
                  <a:ext uri="{FF2B5EF4-FFF2-40B4-BE49-F238E27FC236}">
                    <a16:creationId xmlns:a16="http://schemas.microsoft.com/office/drawing/2014/main" id="{E3BE6281-A4A5-FE23-8DED-9413BEC4115D}"/>
                  </a:ext>
                </a:extLst>
              </p:cNvPr>
              <p:cNvSpPr>
                <a:spLocks/>
              </p:cNvSpPr>
              <p:nvPr/>
            </p:nvSpPr>
            <p:spPr bwMode="auto">
              <a:xfrm>
                <a:off x="4613" y="2768"/>
                <a:ext cx="296" cy="290"/>
              </a:xfrm>
              <a:custGeom>
                <a:avLst/>
                <a:gdLst>
                  <a:gd name="T0" fmla="*/ 54 w 145"/>
                  <a:gd name="T1" fmla="*/ 0 h 142"/>
                  <a:gd name="T2" fmla="*/ 75 w 145"/>
                  <a:gd name="T3" fmla="*/ 12 h 142"/>
                  <a:gd name="T4" fmla="*/ 129 w 145"/>
                  <a:gd name="T5" fmla="*/ 44 h 142"/>
                  <a:gd name="T6" fmla="*/ 135 w 145"/>
                  <a:gd name="T7" fmla="*/ 70 h 142"/>
                  <a:gd name="T8" fmla="*/ 89 w 145"/>
                  <a:gd name="T9" fmla="*/ 133 h 142"/>
                  <a:gd name="T10" fmla="*/ 69 w 145"/>
                  <a:gd name="T11" fmla="*/ 135 h 142"/>
                  <a:gd name="T12" fmla="*/ 10 w 145"/>
                  <a:gd name="T13" fmla="*/ 84 h 142"/>
                  <a:gd name="T14" fmla="*/ 8 w 145"/>
                  <a:gd name="T15" fmla="*/ 60 h 142"/>
                  <a:gd name="T16" fmla="*/ 45 w 145"/>
                  <a:gd name="T17" fmla="*/ 10 h 142"/>
                  <a:gd name="T18" fmla="*/ 54 w 145"/>
                  <a:gd name="T1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 h="142">
                    <a:moveTo>
                      <a:pt x="54" y="0"/>
                    </a:moveTo>
                    <a:cubicBezTo>
                      <a:pt x="62" y="5"/>
                      <a:pt x="68" y="8"/>
                      <a:pt x="75" y="12"/>
                    </a:cubicBezTo>
                    <a:cubicBezTo>
                      <a:pt x="93" y="22"/>
                      <a:pt x="111" y="33"/>
                      <a:pt x="129" y="44"/>
                    </a:cubicBezTo>
                    <a:cubicBezTo>
                      <a:pt x="144" y="53"/>
                      <a:pt x="145" y="56"/>
                      <a:pt x="135" y="70"/>
                    </a:cubicBezTo>
                    <a:cubicBezTo>
                      <a:pt x="120" y="91"/>
                      <a:pt x="104" y="112"/>
                      <a:pt x="89" y="133"/>
                    </a:cubicBezTo>
                    <a:cubicBezTo>
                      <a:pt x="83" y="142"/>
                      <a:pt x="77" y="142"/>
                      <a:pt x="69" y="135"/>
                    </a:cubicBezTo>
                    <a:cubicBezTo>
                      <a:pt x="50" y="117"/>
                      <a:pt x="30" y="100"/>
                      <a:pt x="10" y="84"/>
                    </a:cubicBezTo>
                    <a:cubicBezTo>
                      <a:pt x="1" y="76"/>
                      <a:pt x="0" y="70"/>
                      <a:pt x="8" y="60"/>
                    </a:cubicBezTo>
                    <a:cubicBezTo>
                      <a:pt x="21" y="44"/>
                      <a:pt x="33" y="26"/>
                      <a:pt x="45" y="10"/>
                    </a:cubicBezTo>
                    <a:cubicBezTo>
                      <a:pt x="48" y="6"/>
                      <a:pt x="51" y="4"/>
                      <a:pt x="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2" name="Freeform 15">
                <a:extLst>
                  <a:ext uri="{FF2B5EF4-FFF2-40B4-BE49-F238E27FC236}">
                    <a16:creationId xmlns:a16="http://schemas.microsoft.com/office/drawing/2014/main" id="{84C03303-F6F1-1339-1B16-D819EA626B3F}"/>
                  </a:ext>
                </a:extLst>
              </p:cNvPr>
              <p:cNvSpPr>
                <a:spLocks/>
              </p:cNvSpPr>
              <p:nvPr/>
            </p:nvSpPr>
            <p:spPr bwMode="auto">
              <a:xfrm>
                <a:off x="4768" y="2530"/>
                <a:ext cx="260" cy="256"/>
              </a:xfrm>
              <a:custGeom>
                <a:avLst/>
                <a:gdLst>
                  <a:gd name="T0" fmla="*/ 94 w 127"/>
                  <a:gd name="T1" fmla="*/ 125 h 125"/>
                  <a:gd name="T2" fmla="*/ 5 w 127"/>
                  <a:gd name="T3" fmla="*/ 82 h 125"/>
                  <a:gd name="T4" fmla="*/ 1 w 127"/>
                  <a:gd name="T5" fmla="*/ 66 h 125"/>
                  <a:gd name="T6" fmla="*/ 20 w 127"/>
                  <a:gd name="T7" fmla="*/ 13 h 125"/>
                  <a:gd name="T8" fmla="*/ 39 w 127"/>
                  <a:gd name="T9" fmla="*/ 3 h 125"/>
                  <a:gd name="T10" fmla="*/ 118 w 127"/>
                  <a:gd name="T11" fmla="*/ 27 h 125"/>
                  <a:gd name="T12" fmla="*/ 126 w 127"/>
                  <a:gd name="T13" fmla="*/ 40 h 125"/>
                  <a:gd name="T14" fmla="*/ 94 w 127"/>
                  <a:gd name="T15" fmla="*/ 125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25">
                    <a:moveTo>
                      <a:pt x="94" y="125"/>
                    </a:moveTo>
                    <a:cubicBezTo>
                      <a:pt x="62" y="109"/>
                      <a:pt x="33" y="96"/>
                      <a:pt x="5" y="82"/>
                    </a:cubicBezTo>
                    <a:cubicBezTo>
                      <a:pt x="2" y="80"/>
                      <a:pt x="0" y="71"/>
                      <a:pt x="1" y="66"/>
                    </a:cubicBezTo>
                    <a:cubicBezTo>
                      <a:pt x="7" y="48"/>
                      <a:pt x="15" y="31"/>
                      <a:pt x="20" y="13"/>
                    </a:cubicBezTo>
                    <a:cubicBezTo>
                      <a:pt x="24" y="2"/>
                      <a:pt x="30" y="0"/>
                      <a:pt x="39" y="3"/>
                    </a:cubicBezTo>
                    <a:cubicBezTo>
                      <a:pt x="66" y="11"/>
                      <a:pt x="92" y="18"/>
                      <a:pt x="118" y="27"/>
                    </a:cubicBezTo>
                    <a:cubicBezTo>
                      <a:pt x="122" y="28"/>
                      <a:pt x="127" y="37"/>
                      <a:pt x="126" y="40"/>
                    </a:cubicBezTo>
                    <a:cubicBezTo>
                      <a:pt x="117" y="68"/>
                      <a:pt x="106" y="95"/>
                      <a:pt x="94"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3" name="Freeform 16">
                <a:extLst>
                  <a:ext uri="{FF2B5EF4-FFF2-40B4-BE49-F238E27FC236}">
                    <a16:creationId xmlns:a16="http://schemas.microsoft.com/office/drawing/2014/main" id="{3DF551DE-5DA8-B1AE-A726-F2F76FCA84F0}"/>
                  </a:ext>
                </a:extLst>
              </p:cNvPr>
              <p:cNvSpPr>
                <a:spLocks/>
              </p:cNvSpPr>
              <p:nvPr/>
            </p:nvSpPr>
            <p:spPr bwMode="auto">
              <a:xfrm>
                <a:off x="4846" y="2277"/>
                <a:ext cx="237" cy="192"/>
              </a:xfrm>
              <a:custGeom>
                <a:avLst/>
                <a:gdLst>
                  <a:gd name="T0" fmla="*/ 114 w 116"/>
                  <a:gd name="T1" fmla="*/ 32 h 94"/>
                  <a:gd name="T2" fmla="*/ 108 w 116"/>
                  <a:gd name="T3" fmla="*/ 81 h 94"/>
                  <a:gd name="T4" fmla="*/ 94 w 116"/>
                  <a:gd name="T5" fmla="*/ 92 h 94"/>
                  <a:gd name="T6" fmla="*/ 8 w 116"/>
                  <a:gd name="T7" fmla="*/ 75 h 94"/>
                  <a:gd name="T8" fmla="*/ 0 w 116"/>
                  <a:gd name="T9" fmla="*/ 64 h 94"/>
                  <a:gd name="T10" fmla="*/ 7 w 116"/>
                  <a:gd name="T11" fmla="*/ 9 h 94"/>
                  <a:gd name="T12" fmla="*/ 18 w 116"/>
                  <a:gd name="T13" fmla="*/ 0 h 94"/>
                  <a:gd name="T14" fmla="*/ 102 w 116"/>
                  <a:gd name="T15" fmla="*/ 2 h 94"/>
                  <a:gd name="T16" fmla="*/ 114 w 116"/>
                  <a:gd name="T17" fmla="*/ 3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94">
                    <a:moveTo>
                      <a:pt x="114" y="32"/>
                    </a:moveTo>
                    <a:cubicBezTo>
                      <a:pt x="112" y="44"/>
                      <a:pt x="110" y="63"/>
                      <a:pt x="108" y="81"/>
                    </a:cubicBezTo>
                    <a:cubicBezTo>
                      <a:pt x="107" y="90"/>
                      <a:pt x="102" y="94"/>
                      <a:pt x="94" y="92"/>
                    </a:cubicBezTo>
                    <a:cubicBezTo>
                      <a:pt x="65" y="87"/>
                      <a:pt x="36" y="82"/>
                      <a:pt x="8" y="75"/>
                    </a:cubicBezTo>
                    <a:cubicBezTo>
                      <a:pt x="4" y="75"/>
                      <a:pt x="0" y="67"/>
                      <a:pt x="0" y="64"/>
                    </a:cubicBezTo>
                    <a:cubicBezTo>
                      <a:pt x="2" y="45"/>
                      <a:pt x="4" y="27"/>
                      <a:pt x="7" y="9"/>
                    </a:cubicBezTo>
                    <a:cubicBezTo>
                      <a:pt x="8" y="5"/>
                      <a:pt x="14" y="0"/>
                      <a:pt x="18" y="0"/>
                    </a:cubicBezTo>
                    <a:cubicBezTo>
                      <a:pt x="46" y="0"/>
                      <a:pt x="74" y="1"/>
                      <a:pt x="102" y="2"/>
                    </a:cubicBezTo>
                    <a:cubicBezTo>
                      <a:pt x="115" y="2"/>
                      <a:pt x="116" y="5"/>
                      <a:pt x="11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4" name="Freeform 17">
                <a:extLst>
                  <a:ext uri="{FF2B5EF4-FFF2-40B4-BE49-F238E27FC236}">
                    <a16:creationId xmlns:a16="http://schemas.microsoft.com/office/drawing/2014/main" id="{56B42759-E4C1-ED3B-31C6-3EE300AC64F0}"/>
                  </a:ext>
                </a:extLst>
              </p:cNvPr>
              <p:cNvSpPr>
                <a:spLocks/>
              </p:cNvSpPr>
              <p:nvPr/>
            </p:nvSpPr>
            <p:spPr bwMode="auto">
              <a:xfrm>
                <a:off x="4832" y="1970"/>
                <a:ext cx="245" cy="194"/>
              </a:xfrm>
              <a:custGeom>
                <a:avLst/>
                <a:gdLst>
                  <a:gd name="T0" fmla="*/ 32 w 120"/>
                  <a:gd name="T1" fmla="*/ 90 h 95"/>
                  <a:gd name="T2" fmla="*/ 9 w 120"/>
                  <a:gd name="T3" fmla="*/ 74 h 95"/>
                  <a:gd name="T4" fmla="*/ 4 w 120"/>
                  <a:gd name="T5" fmla="*/ 41 h 95"/>
                  <a:gd name="T6" fmla="*/ 19 w 120"/>
                  <a:gd name="T7" fmla="*/ 20 h 95"/>
                  <a:gd name="T8" fmla="*/ 68 w 120"/>
                  <a:gd name="T9" fmla="*/ 10 h 95"/>
                  <a:gd name="T10" fmla="*/ 83 w 120"/>
                  <a:gd name="T11" fmla="*/ 7 h 95"/>
                  <a:gd name="T12" fmla="*/ 112 w 120"/>
                  <a:gd name="T13" fmla="*/ 25 h 95"/>
                  <a:gd name="T14" fmla="*/ 119 w 120"/>
                  <a:gd name="T15" fmla="*/ 69 h 95"/>
                  <a:gd name="T16" fmla="*/ 105 w 120"/>
                  <a:gd name="T17" fmla="*/ 84 h 95"/>
                  <a:gd name="T18" fmla="*/ 32 w 120"/>
                  <a:gd name="T19"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95">
                    <a:moveTo>
                      <a:pt x="32" y="90"/>
                    </a:moveTo>
                    <a:cubicBezTo>
                      <a:pt x="17" y="95"/>
                      <a:pt x="11" y="88"/>
                      <a:pt x="9" y="74"/>
                    </a:cubicBezTo>
                    <a:cubicBezTo>
                      <a:pt x="8" y="63"/>
                      <a:pt x="7" y="52"/>
                      <a:pt x="4" y="41"/>
                    </a:cubicBezTo>
                    <a:cubicBezTo>
                      <a:pt x="0" y="27"/>
                      <a:pt x="8" y="23"/>
                      <a:pt x="19" y="20"/>
                    </a:cubicBezTo>
                    <a:cubicBezTo>
                      <a:pt x="35" y="16"/>
                      <a:pt x="52" y="13"/>
                      <a:pt x="68" y="10"/>
                    </a:cubicBezTo>
                    <a:cubicBezTo>
                      <a:pt x="73" y="8"/>
                      <a:pt x="78" y="8"/>
                      <a:pt x="83" y="7"/>
                    </a:cubicBezTo>
                    <a:cubicBezTo>
                      <a:pt x="107" y="0"/>
                      <a:pt x="107" y="0"/>
                      <a:pt x="112" y="25"/>
                    </a:cubicBezTo>
                    <a:cubicBezTo>
                      <a:pt x="115" y="39"/>
                      <a:pt x="116" y="54"/>
                      <a:pt x="119" y="69"/>
                    </a:cubicBezTo>
                    <a:cubicBezTo>
                      <a:pt x="120" y="80"/>
                      <a:pt x="115" y="83"/>
                      <a:pt x="105" y="84"/>
                    </a:cubicBezTo>
                    <a:cubicBezTo>
                      <a:pt x="81" y="86"/>
                      <a:pt x="56" y="88"/>
                      <a:pt x="3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5" name="Freeform 18">
                <a:extLst>
                  <a:ext uri="{FF2B5EF4-FFF2-40B4-BE49-F238E27FC236}">
                    <a16:creationId xmlns:a16="http://schemas.microsoft.com/office/drawing/2014/main" id="{00EF05AA-6EFD-1A0D-8DF6-63DA4601C29E}"/>
                  </a:ext>
                </a:extLst>
              </p:cNvPr>
              <p:cNvSpPr>
                <a:spLocks/>
              </p:cNvSpPr>
              <p:nvPr/>
            </p:nvSpPr>
            <p:spPr bwMode="auto">
              <a:xfrm>
                <a:off x="4752" y="1685"/>
                <a:ext cx="255" cy="201"/>
              </a:xfrm>
              <a:custGeom>
                <a:avLst/>
                <a:gdLst>
                  <a:gd name="T0" fmla="*/ 125 w 125"/>
                  <a:gd name="T1" fmla="*/ 62 h 98"/>
                  <a:gd name="T2" fmla="*/ 114 w 125"/>
                  <a:gd name="T3" fmla="*/ 66 h 98"/>
                  <a:gd name="T4" fmla="*/ 31 w 125"/>
                  <a:gd name="T5" fmla="*/ 97 h 98"/>
                  <a:gd name="T6" fmla="*/ 18 w 125"/>
                  <a:gd name="T7" fmla="*/ 92 h 98"/>
                  <a:gd name="T8" fmla="*/ 1 w 125"/>
                  <a:gd name="T9" fmla="*/ 54 h 98"/>
                  <a:gd name="T10" fmla="*/ 8 w 125"/>
                  <a:gd name="T11" fmla="*/ 41 h 98"/>
                  <a:gd name="T12" fmla="*/ 83 w 125"/>
                  <a:gd name="T13" fmla="*/ 2 h 98"/>
                  <a:gd name="T14" fmla="*/ 94 w 125"/>
                  <a:gd name="T15" fmla="*/ 2 h 98"/>
                  <a:gd name="T16" fmla="*/ 125 w 125"/>
                  <a:gd name="T17" fmla="*/ 6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98">
                    <a:moveTo>
                      <a:pt x="125" y="62"/>
                    </a:moveTo>
                    <a:cubicBezTo>
                      <a:pt x="121" y="64"/>
                      <a:pt x="117" y="65"/>
                      <a:pt x="114" y="66"/>
                    </a:cubicBezTo>
                    <a:cubicBezTo>
                      <a:pt x="86" y="76"/>
                      <a:pt x="59" y="87"/>
                      <a:pt x="31" y="97"/>
                    </a:cubicBezTo>
                    <a:cubicBezTo>
                      <a:pt x="28" y="98"/>
                      <a:pt x="20" y="95"/>
                      <a:pt x="18" y="92"/>
                    </a:cubicBezTo>
                    <a:cubicBezTo>
                      <a:pt x="12" y="80"/>
                      <a:pt x="6" y="67"/>
                      <a:pt x="1" y="54"/>
                    </a:cubicBezTo>
                    <a:cubicBezTo>
                      <a:pt x="0" y="50"/>
                      <a:pt x="4" y="43"/>
                      <a:pt x="8" y="41"/>
                    </a:cubicBezTo>
                    <a:cubicBezTo>
                      <a:pt x="32" y="27"/>
                      <a:pt x="57" y="14"/>
                      <a:pt x="83" y="2"/>
                    </a:cubicBezTo>
                    <a:cubicBezTo>
                      <a:pt x="86" y="0"/>
                      <a:pt x="93" y="0"/>
                      <a:pt x="94" y="2"/>
                    </a:cubicBezTo>
                    <a:cubicBezTo>
                      <a:pt x="104" y="20"/>
                      <a:pt x="113" y="38"/>
                      <a:pt x="125"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6" name="Freeform 19">
                <a:extLst>
                  <a:ext uri="{FF2B5EF4-FFF2-40B4-BE49-F238E27FC236}">
                    <a16:creationId xmlns:a16="http://schemas.microsoft.com/office/drawing/2014/main" id="{967064BE-7E52-54A7-8437-2F6EB71A89B6}"/>
                  </a:ext>
                </a:extLst>
              </p:cNvPr>
              <p:cNvSpPr>
                <a:spLocks/>
              </p:cNvSpPr>
              <p:nvPr/>
            </p:nvSpPr>
            <p:spPr bwMode="auto">
              <a:xfrm>
                <a:off x="4590" y="1423"/>
                <a:ext cx="252" cy="219"/>
              </a:xfrm>
              <a:custGeom>
                <a:avLst/>
                <a:gdLst>
                  <a:gd name="T0" fmla="*/ 123 w 123"/>
                  <a:gd name="T1" fmla="*/ 47 h 107"/>
                  <a:gd name="T2" fmla="*/ 116 w 123"/>
                  <a:gd name="T3" fmla="*/ 54 h 107"/>
                  <a:gd name="T4" fmla="*/ 46 w 123"/>
                  <a:gd name="T5" fmla="*/ 105 h 107"/>
                  <a:gd name="T6" fmla="*/ 32 w 123"/>
                  <a:gd name="T7" fmla="*/ 103 h 107"/>
                  <a:gd name="T8" fmla="*/ 33 w 123"/>
                  <a:gd name="T9" fmla="*/ 45 h 107"/>
                  <a:gd name="T10" fmla="*/ 74 w 123"/>
                  <a:gd name="T11" fmla="*/ 9 h 107"/>
                  <a:gd name="T12" fmla="*/ 96 w 123"/>
                  <a:gd name="T13" fmla="*/ 10 h 107"/>
                  <a:gd name="T14" fmla="*/ 118 w 123"/>
                  <a:gd name="T15" fmla="*/ 38 h 107"/>
                  <a:gd name="T16" fmla="*/ 123 w 123"/>
                  <a:gd name="T17" fmla="*/ 4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07">
                    <a:moveTo>
                      <a:pt x="123" y="47"/>
                    </a:moveTo>
                    <a:cubicBezTo>
                      <a:pt x="121" y="49"/>
                      <a:pt x="119" y="52"/>
                      <a:pt x="116" y="54"/>
                    </a:cubicBezTo>
                    <a:cubicBezTo>
                      <a:pt x="93" y="71"/>
                      <a:pt x="70" y="88"/>
                      <a:pt x="46" y="105"/>
                    </a:cubicBezTo>
                    <a:cubicBezTo>
                      <a:pt x="43" y="107"/>
                      <a:pt x="34" y="106"/>
                      <a:pt x="32" y="103"/>
                    </a:cubicBezTo>
                    <a:cubicBezTo>
                      <a:pt x="1" y="64"/>
                      <a:pt x="0" y="78"/>
                      <a:pt x="33" y="45"/>
                    </a:cubicBezTo>
                    <a:cubicBezTo>
                      <a:pt x="46" y="33"/>
                      <a:pt x="61" y="21"/>
                      <a:pt x="74" y="9"/>
                    </a:cubicBezTo>
                    <a:cubicBezTo>
                      <a:pt x="83" y="0"/>
                      <a:pt x="89" y="1"/>
                      <a:pt x="96" y="10"/>
                    </a:cubicBezTo>
                    <a:cubicBezTo>
                      <a:pt x="103" y="20"/>
                      <a:pt x="111" y="29"/>
                      <a:pt x="118" y="38"/>
                    </a:cubicBezTo>
                    <a:cubicBezTo>
                      <a:pt x="120" y="41"/>
                      <a:pt x="121" y="43"/>
                      <a:pt x="123"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7" name="Freeform 20">
                <a:extLst>
                  <a:ext uri="{FF2B5EF4-FFF2-40B4-BE49-F238E27FC236}">
                    <a16:creationId xmlns:a16="http://schemas.microsoft.com/office/drawing/2014/main" id="{7B015260-AB75-A619-4E34-7584A35DB5DB}"/>
                  </a:ext>
                </a:extLst>
              </p:cNvPr>
              <p:cNvSpPr>
                <a:spLocks/>
              </p:cNvSpPr>
              <p:nvPr/>
            </p:nvSpPr>
            <p:spPr bwMode="auto">
              <a:xfrm>
                <a:off x="4408" y="1215"/>
                <a:ext cx="203" cy="237"/>
              </a:xfrm>
              <a:custGeom>
                <a:avLst/>
                <a:gdLst>
                  <a:gd name="T0" fmla="*/ 99 w 99"/>
                  <a:gd name="T1" fmla="*/ 33 h 116"/>
                  <a:gd name="T2" fmla="*/ 94 w 99"/>
                  <a:gd name="T3" fmla="*/ 43 h 116"/>
                  <a:gd name="T4" fmla="*/ 45 w 99"/>
                  <a:gd name="T5" fmla="*/ 105 h 116"/>
                  <a:gd name="T6" fmla="*/ 21 w 99"/>
                  <a:gd name="T7" fmla="*/ 107 h 116"/>
                  <a:gd name="T8" fmla="*/ 20 w 99"/>
                  <a:gd name="T9" fmla="*/ 106 h 116"/>
                  <a:gd name="T10" fmla="*/ 14 w 99"/>
                  <a:gd name="T11" fmla="*/ 69 h 116"/>
                  <a:gd name="T12" fmla="*/ 49 w 99"/>
                  <a:gd name="T13" fmla="*/ 15 h 116"/>
                  <a:gd name="T14" fmla="*/ 74 w 99"/>
                  <a:gd name="T15" fmla="*/ 11 h 116"/>
                  <a:gd name="T16" fmla="*/ 92 w 99"/>
                  <a:gd name="T17" fmla="*/ 24 h 116"/>
                  <a:gd name="T18" fmla="*/ 99 w 99"/>
                  <a:gd name="T19" fmla="*/ 3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116">
                    <a:moveTo>
                      <a:pt x="99" y="33"/>
                    </a:moveTo>
                    <a:cubicBezTo>
                      <a:pt x="97" y="37"/>
                      <a:pt x="96" y="40"/>
                      <a:pt x="94" y="43"/>
                    </a:cubicBezTo>
                    <a:cubicBezTo>
                      <a:pt x="78" y="64"/>
                      <a:pt x="61" y="84"/>
                      <a:pt x="45" y="105"/>
                    </a:cubicBezTo>
                    <a:cubicBezTo>
                      <a:pt x="37" y="114"/>
                      <a:pt x="30" y="116"/>
                      <a:pt x="21" y="107"/>
                    </a:cubicBezTo>
                    <a:cubicBezTo>
                      <a:pt x="21" y="106"/>
                      <a:pt x="21" y="106"/>
                      <a:pt x="20" y="106"/>
                    </a:cubicBezTo>
                    <a:cubicBezTo>
                      <a:pt x="0" y="91"/>
                      <a:pt x="0" y="91"/>
                      <a:pt x="14" y="69"/>
                    </a:cubicBezTo>
                    <a:cubicBezTo>
                      <a:pt x="25" y="51"/>
                      <a:pt x="37" y="33"/>
                      <a:pt x="49" y="15"/>
                    </a:cubicBezTo>
                    <a:cubicBezTo>
                      <a:pt x="56" y="5"/>
                      <a:pt x="63" y="0"/>
                      <a:pt x="74" y="11"/>
                    </a:cubicBezTo>
                    <a:cubicBezTo>
                      <a:pt x="79" y="16"/>
                      <a:pt x="86" y="19"/>
                      <a:pt x="92" y="24"/>
                    </a:cubicBezTo>
                    <a:cubicBezTo>
                      <a:pt x="95" y="27"/>
                      <a:pt x="97" y="30"/>
                      <a:pt x="99"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8" name="Freeform 21">
                <a:extLst>
                  <a:ext uri="{FF2B5EF4-FFF2-40B4-BE49-F238E27FC236}">
                    <a16:creationId xmlns:a16="http://schemas.microsoft.com/office/drawing/2014/main" id="{A6B07703-1BDD-CAFC-D242-E256A76C2BD9}"/>
                  </a:ext>
                </a:extLst>
              </p:cNvPr>
              <p:cNvSpPr>
                <a:spLocks/>
              </p:cNvSpPr>
              <p:nvPr/>
            </p:nvSpPr>
            <p:spPr bwMode="auto">
              <a:xfrm>
                <a:off x="4173" y="1077"/>
                <a:ext cx="160" cy="230"/>
              </a:xfrm>
              <a:custGeom>
                <a:avLst/>
                <a:gdLst>
                  <a:gd name="T0" fmla="*/ 78 w 78"/>
                  <a:gd name="T1" fmla="*/ 17 h 112"/>
                  <a:gd name="T2" fmla="*/ 38 w 78"/>
                  <a:gd name="T3" fmla="*/ 107 h 112"/>
                  <a:gd name="T4" fmla="*/ 23 w 78"/>
                  <a:gd name="T5" fmla="*/ 110 h 112"/>
                  <a:gd name="T6" fmla="*/ 5 w 78"/>
                  <a:gd name="T7" fmla="*/ 93 h 112"/>
                  <a:gd name="T8" fmla="*/ 33 w 78"/>
                  <a:gd name="T9" fmla="*/ 13 h 112"/>
                  <a:gd name="T10" fmla="*/ 50 w 78"/>
                  <a:gd name="T11" fmla="*/ 5 h 112"/>
                  <a:gd name="T12" fmla="*/ 78 w 78"/>
                  <a:gd name="T13" fmla="*/ 17 h 112"/>
                </a:gdLst>
                <a:ahLst/>
                <a:cxnLst>
                  <a:cxn ang="0">
                    <a:pos x="T0" y="T1"/>
                  </a:cxn>
                  <a:cxn ang="0">
                    <a:pos x="T2" y="T3"/>
                  </a:cxn>
                  <a:cxn ang="0">
                    <a:pos x="T4" y="T5"/>
                  </a:cxn>
                  <a:cxn ang="0">
                    <a:pos x="T6" y="T7"/>
                  </a:cxn>
                  <a:cxn ang="0">
                    <a:pos x="T8" y="T9"/>
                  </a:cxn>
                  <a:cxn ang="0">
                    <a:pos x="T10" y="T11"/>
                  </a:cxn>
                  <a:cxn ang="0">
                    <a:pos x="T12" y="T13"/>
                  </a:cxn>
                </a:cxnLst>
                <a:rect l="0" t="0" r="r" b="b"/>
                <a:pathLst>
                  <a:path w="78" h="112">
                    <a:moveTo>
                      <a:pt x="78" y="17"/>
                    </a:moveTo>
                    <a:cubicBezTo>
                      <a:pt x="64" y="48"/>
                      <a:pt x="52" y="77"/>
                      <a:pt x="38" y="107"/>
                    </a:cubicBezTo>
                    <a:cubicBezTo>
                      <a:pt x="37" y="110"/>
                      <a:pt x="26" y="112"/>
                      <a:pt x="23" y="110"/>
                    </a:cubicBezTo>
                    <a:cubicBezTo>
                      <a:pt x="16" y="106"/>
                      <a:pt x="0" y="108"/>
                      <a:pt x="5" y="93"/>
                    </a:cubicBezTo>
                    <a:cubicBezTo>
                      <a:pt x="14" y="66"/>
                      <a:pt x="23" y="39"/>
                      <a:pt x="33" y="13"/>
                    </a:cubicBezTo>
                    <a:cubicBezTo>
                      <a:pt x="36" y="5"/>
                      <a:pt x="41" y="0"/>
                      <a:pt x="50" y="5"/>
                    </a:cubicBezTo>
                    <a:cubicBezTo>
                      <a:pt x="59" y="9"/>
                      <a:pt x="67" y="12"/>
                      <a:pt x="7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cs"/>
                </a:endParaRPr>
              </a:p>
            </p:txBody>
          </p:sp>
        </p:grpSp>
      </p:grpSp>
      <p:sp>
        <p:nvSpPr>
          <p:cNvPr id="30" name="矩形 29">
            <a:extLst>
              <a:ext uri="{FF2B5EF4-FFF2-40B4-BE49-F238E27FC236}">
                <a16:creationId xmlns:a16="http://schemas.microsoft.com/office/drawing/2014/main" id="{BE48E200-64B0-A87C-0BFF-B8130FB41AB1}"/>
              </a:ext>
            </a:extLst>
          </p:cNvPr>
          <p:cNvSpPr/>
          <p:nvPr/>
        </p:nvSpPr>
        <p:spPr>
          <a:xfrm>
            <a:off x="2690075" y="1982041"/>
            <a:ext cx="2102129" cy="1081963"/>
          </a:xfrm>
          <a:prstGeom prst="rect">
            <a:avLst/>
          </a:prstGeom>
          <a:noFill/>
          <a:ln>
            <a:noFill/>
          </a:ln>
        </p:spPr>
        <p:txBody>
          <a:bodyPr wrap="square" lIns="91440" tIns="45720" rIns="91440" bIns="4572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灵活制定</a:t>
            </a:r>
            <a:endParaRPr kumimoji="0" lang="en-US" altLang="zh-CN"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家庭计划</a:t>
            </a:r>
          </a:p>
        </p:txBody>
      </p:sp>
      <p:sp>
        <p:nvSpPr>
          <p:cNvPr id="31" name="圆角矩形 15">
            <a:extLst>
              <a:ext uri="{FF2B5EF4-FFF2-40B4-BE49-F238E27FC236}">
                <a16:creationId xmlns:a16="http://schemas.microsoft.com/office/drawing/2014/main" id="{19CA7D2B-3C86-D87E-2DCF-CABB11708A0F}"/>
              </a:ext>
            </a:extLst>
          </p:cNvPr>
          <p:cNvSpPr>
            <a:spLocks/>
          </p:cNvSpPr>
          <p:nvPr/>
        </p:nvSpPr>
        <p:spPr>
          <a:xfrm>
            <a:off x="414598" y="891793"/>
            <a:ext cx="5158887" cy="746383"/>
          </a:xfrm>
          <a:prstGeom prst="roundRect">
            <a:avLst>
              <a:gd name="adj" fmla="val 2000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70000" lnSpcReduction="20000"/>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方便育龄期女性停药妊娠：本品活性代谢产物半衰期约</a:t>
            </a:r>
            <a:r>
              <a:rPr kumimoji="0" lang="en-US" altLang="zh-CN" sz="20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a:t>
            </a:r>
            <a:r>
              <a:rPr kumimoji="0" lang="zh-CN" altLang="en-US" sz="20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a:t>
            </a:r>
            <a:r>
              <a:rPr kumimoji="0" lang="en-US" altLang="zh-CN" sz="20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4</a:t>
            </a:r>
            <a:r>
              <a:rPr kumimoji="0" lang="zh-CN" altLang="en-US" sz="20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小时可体内清除，不需要延长洗脱期</a:t>
            </a:r>
          </a:p>
        </p:txBody>
      </p:sp>
      <p:graphicFrame>
        <p:nvGraphicFramePr>
          <p:cNvPr id="32" name="表格 7">
            <a:extLst>
              <a:ext uri="{FF2B5EF4-FFF2-40B4-BE49-F238E27FC236}">
                <a16:creationId xmlns:a16="http://schemas.microsoft.com/office/drawing/2014/main" id="{CE9F30BD-F586-97A5-6200-B48681FFB083}"/>
              </a:ext>
            </a:extLst>
          </p:cNvPr>
          <p:cNvGraphicFramePr>
            <a:graphicFrameLocks noGrp="1"/>
          </p:cNvGraphicFramePr>
          <p:nvPr>
            <p:extLst>
              <p:ext uri="{D42A27DB-BD31-4B8C-83A1-F6EECF244321}">
                <p14:modId xmlns:p14="http://schemas.microsoft.com/office/powerpoint/2010/main" val="1596589983"/>
              </p:ext>
            </p:extLst>
          </p:nvPr>
        </p:nvGraphicFramePr>
        <p:xfrm>
          <a:off x="5953720" y="3821775"/>
          <a:ext cx="5780022" cy="1475095"/>
        </p:xfrm>
        <a:graphic>
          <a:graphicData uri="http://schemas.openxmlformats.org/drawingml/2006/table">
            <a:tbl>
              <a:tblPr firstRow="1" bandRow="1">
                <a:tableStyleId>{5C22544A-7EE6-4342-B048-85BDC9FD1C3A}</a:tableStyleId>
              </a:tblPr>
              <a:tblGrid>
                <a:gridCol w="1090825">
                  <a:extLst>
                    <a:ext uri="{9D8B030D-6E8A-4147-A177-3AD203B41FA5}">
                      <a16:colId xmlns:a16="http://schemas.microsoft.com/office/drawing/2014/main" val="1891592017"/>
                    </a:ext>
                  </a:extLst>
                </a:gridCol>
                <a:gridCol w="758913">
                  <a:extLst>
                    <a:ext uri="{9D8B030D-6E8A-4147-A177-3AD203B41FA5}">
                      <a16:colId xmlns:a16="http://schemas.microsoft.com/office/drawing/2014/main" val="2223817977"/>
                    </a:ext>
                  </a:extLst>
                </a:gridCol>
                <a:gridCol w="1428100">
                  <a:extLst>
                    <a:ext uri="{9D8B030D-6E8A-4147-A177-3AD203B41FA5}">
                      <a16:colId xmlns:a16="http://schemas.microsoft.com/office/drawing/2014/main" val="859140231"/>
                    </a:ext>
                  </a:extLst>
                </a:gridCol>
                <a:gridCol w="981176">
                  <a:extLst>
                    <a:ext uri="{9D8B030D-6E8A-4147-A177-3AD203B41FA5}">
                      <a16:colId xmlns:a16="http://schemas.microsoft.com/office/drawing/2014/main" val="1877070041"/>
                    </a:ext>
                  </a:extLst>
                </a:gridCol>
                <a:gridCol w="1521008">
                  <a:extLst>
                    <a:ext uri="{9D8B030D-6E8A-4147-A177-3AD203B41FA5}">
                      <a16:colId xmlns:a16="http://schemas.microsoft.com/office/drawing/2014/main" val="3084145382"/>
                    </a:ext>
                  </a:extLst>
                </a:gridCol>
              </a:tblGrid>
              <a:tr h="305192">
                <a:tc rowSpan="2">
                  <a:txBody>
                    <a:bodyPr/>
                    <a:lstStyle/>
                    <a:p>
                      <a:pPr algn="ctr"/>
                      <a:r>
                        <a:rPr lang="zh-CN" altLang="en-US" sz="1200" baseline="0" dirty="0">
                          <a:solidFill>
                            <a:srgbClr val="2473BA"/>
                          </a:solidFill>
                          <a:latin typeface="Arial" panose="020B0604020202020204" pitchFamily="34" charset="0"/>
                          <a:ea typeface="微软雅黑" panose="020B0503020204020204" pitchFamily="34" charset="-122"/>
                        </a:rPr>
                        <a:t>药物</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zh-CN" altLang="en-US" sz="1200" baseline="0" dirty="0">
                          <a:solidFill>
                            <a:srgbClr val="2473BA"/>
                          </a:solidFill>
                          <a:latin typeface="Arial" panose="020B0604020202020204" pitchFamily="34" charset="0"/>
                          <a:ea typeface="微软雅黑" panose="020B0503020204020204" pitchFamily="34" charset="-122"/>
                        </a:rPr>
                        <a:t>总体肝损伤</a:t>
                      </a:r>
                      <a:r>
                        <a:rPr lang="en-US" altLang="zh-CN" sz="1200" baseline="0" dirty="0">
                          <a:solidFill>
                            <a:srgbClr val="2473BA"/>
                          </a:solidFill>
                          <a:latin typeface="Arial" panose="020B0604020202020204" pitchFamily="34" charset="0"/>
                          <a:ea typeface="微软雅黑" panose="020B0503020204020204" pitchFamily="34" charset="-122"/>
                        </a:rPr>
                        <a:t>(OLI)</a:t>
                      </a:r>
                      <a:endParaRPr lang="zh-CN" altLang="en-US" sz="1200"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400" baseline="0" dirty="0">
                        <a:latin typeface="Arial" panose="020B0604020202020204" pitchFamily="34" charset="0"/>
                        <a:ea typeface="微软雅黑" panose="020B0503020204020204" pitchFamily="34" charset="-122"/>
                      </a:endParaRPr>
                    </a:p>
                  </a:txBody>
                  <a:tcPr/>
                </a:tc>
                <a:tc gridSpan="2">
                  <a:txBody>
                    <a:bodyPr/>
                    <a:lstStyle/>
                    <a:p>
                      <a:pPr algn="ctr"/>
                      <a:r>
                        <a:rPr lang="zh-CN" altLang="en-US" sz="1200" baseline="0" dirty="0">
                          <a:solidFill>
                            <a:srgbClr val="2473BA"/>
                          </a:solidFill>
                          <a:latin typeface="Arial" panose="020B0604020202020204" pitchFamily="34" charset="0"/>
                          <a:ea typeface="微软雅黑" panose="020B0503020204020204" pitchFamily="34" charset="-122"/>
                        </a:rPr>
                        <a:t>严重肝损伤</a:t>
                      </a:r>
                      <a:r>
                        <a:rPr lang="en-US" altLang="zh-CN" sz="1200" baseline="0" dirty="0">
                          <a:solidFill>
                            <a:srgbClr val="2473BA"/>
                          </a:solidFill>
                          <a:latin typeface="Arial" panose="020B0604020202020204" pitchFamily="34" charset="0"/>
                          <a:ea typeface="微软雅黑" panose="020B0503020204020204" pitchFamily="34" charset="-122"/>
                        </a:rPr>
                        <a:t>(SLI)</a:t>
                      </a:r>
                      <a:endParaRPr lang="zh-CN" altLang="en-US" sz="1200"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sz="1400" baseline="0" dirty="0">
                        <a:latin typeface="Arial" panose="020B0604020202020204" pitchFamily="34" charset="0"/>
                        <a:ea typeface="微软雅黑" panose="020B0503020204020204" pitchFamily="34" charset="-122"/>
                      </a:endParaRPr>
                    </a:p>
                  </a:txBody>
                  <a:tcPr/>
                </a:tc>
                <a:extLst>
                  <a:ext uri="{0D108BD9-81ED-4DB2-BD59-A6C34878D82A}">
                    <a16:rowId xmlns:a16="http://schemas.microsoft.com/office/drawing/2014/main" val="2834484046"/>
                  </a:ext>
                </a:extLst>
              </a:tr>
              <a:tr h="288237">
                <a:tc vMerge="1">
                  <a:txBody>
                    <a:bodyPr/>
                    <a:lstStyle/>
                    <a:p>
                      <a:endParaRPr lang="zh-CN" altLang="en-US" sz="1200" baseline="0" dirty="0">
                        <a:solidFill>
                          <a:schemeClr val="bg1"/>
                        </a:solidFill>
                        <a:latin typeface="Arial" panose="020B0604020202020204" pitchFamily="34" charset="0"/>
                        <a:ea typeface="微软雅黑" panose="020B0503020204020204" pitchFamily="34" charset="-122"/>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712263"/>
                    </a:solidFill>
                  </a:tcPr>
                </a:tc>
                <a:tc>
                  <a:txBody>
                    <a:bodyPr/>
                    <a:lstStyle/>
                    <a:p>
                      <a:pPr algn="ctr"/>
                      <a:r>
                        <a:rPr lang="zh-CN" altLang="en-US" sz="1100" baseline="0" dirty="0">
                          <a:solidFill>
                            <a:schemeClr val="tx1"/>
                          </a:solidFill>
                          <a:latin typeface="Arial" panose="020B0604020202020204" pitchFamily="34" charset="0"/>
                          <a:ea typeface="微软雅黑" panose="020B0503020204020204" pitchFamily="34" charset="-122"/>
                        </a:rPr>
                        <a:t>病例数</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solidFill>
                            <a:schemeClr val="tx1"/>
                          </a:solidFill>
                          <a:latin typeface="Arial" panose="020B0604020202020204" pitchFamily="34" charset="0"/>
                          <a:ea typeface="微软雅黑" panose="020B0503020204020204" pitchFamily="34" charset="-122"/>
                        </a:rPr>
                        <a:t>ROR(95%Cl)</a:t>
                      </a:r>
                      <a:endParaRPr lang="zh-CN" altLang="en-US" sz="1100" baseline="0" dirty="0">
                        <a:solidFill>
                          <a:schemeClr val="tx1"/>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100" baseline="0" dirty="0">
                          <a:solidFill>
                            <a:schemeClr val="tx1"/>
                          </a:solidFill>
                          <a:latin typeface="Arial" panose="020B0604020202020204" pitchFamily="34" charset="0"/>
                          <a:ea typeface="微软雅黑" panose="020B0503020204020204" pitchFamily="34" charset="-122"/>
                        </a:rPr>
                        <a:t>病例数</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solidFill>
                            <a:schemeClr val="tx1"/>
                          </a:solidFill>
                          <a:latin typeface="Arial" panose="020B0604020202020204" pitchFamily="34" charset="0"/>
                          <a:ea typeface="微软雅黑" panose="020B0503020204020204" pitchFamily="34" charset="-122"/>
                        </a:rPr>
                        <a:t>ROR(95%Cl)</a:t>
                      </a:r>
                      <a:endParaRPr lang="zh-CN" altLang="en-US" sz="1100" baseline="0" dirty="0">
                        <a:solidFill>
                          <a:schemeClr val="tx1"/>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7226695"/>
                  </a:ext>
                </a:extLst>
              </a:tr>
              <a:tr h="305192">
                <a:tc>
                  <a:txBody>
                    <a:bodyPr/>
                    <a:lstStyle/>
                    <a:p>
                      <a:r>
                        <a:rPr lang="zh-CN" altLang="en-US" sz="1100" b="1" baseline="0" dirty="0">
                          <a:solidFill>
                            <a:srgbClr val="2473BA"/>
                          </a:solidFill>
                          <a:latin typeface="Arial" panose="020B0604020202020204" pitchFamily="34" charset="0"/>
                          <a:ea typeface="微软雅黑" panose="020B0503020204020204" pitchFamily="34" charset="-122"/>
                        </a:rPr>
                        <a:t>富马酸二甲酯</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rgbClr val="D2E5F6"/>
                    </a:solidFill>
                  </a:tcPr>
                </a:tc>
                <a:tc>
                  <a:txBody>
                    <a:bodyPr/>
                    <a:lstStyle/>
                    <a:p>
                      <a:pPr algn="ctr"/>
                      <a:r>
                        <a:rPr lang="en-US" altLang="zh-CN" sz="1100" b="1" baseline="0" dirty="0">
                          <a:solidFill>
                            <a:srgbClr val="2473BA"/>
                          </a:solidFill>
                          <a:latin typeface="Arial" panose="020B0604020202020204" pitchFamily="34" charset="0"/>
                          <a:ea typeface="微软雅黑" panose="020B0503020204020204" pitchFamily="34" charset="-122"/>
                        </a:rPr>
                        <a:t>397</a:t>
                      </a:r>
                      <a:endParaRPr lang="zh-CN" altLang="en-US" sz="1100" b="1"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rgbClr val="D2E5F6"/>
                    </a:solidFill>
                  </a:tcPr>
                </a:tc>
                <a:tc>
                  <a:txBody>
                    <a:bodyPr/>
                    <a:lstStyle/>
                    <a:p>
                      <a:pPr algn="ctr"/>
                      <a:r>
                        <a:rPr lang="en-US" altLang="zh-CN" sz="1200" b="1" baseline="0" dirty="0">
                          <a:solidFill>
                            <a:srgbClr val="2473BA"/>
                          </a:solidFill>
                          <a:latin typeface="Arial" panose="020B0604020202020204" pitchFamily="34" charset="0"/>
                          <a:ea typeface="微软雅黑" panose="020B0503020204020204" pitchFamily="34" charset="-122"/>
                        </a:rPr>
                        <a:t>0.37 (0.34–0.41)</a:t>
                      </a:r>
                      <a:endParaRPr lang="zh-CN" altLang="en-US" sz="1200" b="1"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rgbClr val="D2E5F6"/>
                    </a:solidFill>
                  </a:tcPr>
                </a:tc>
                <a:tc>
                  <a:txBody>
                    <a:bodyPr/>
                    <a:lstStyle/>
                    <a:p>
                      <a:pPr algn="ctr"/>
                      <a:r>
                        <a:rPr lang="en-US" altLang="zh-CN" sz="1200" b="1" baseline="0" dirty="0">
                          <a:solidFill>
                            <a:srgbClr val="2473BA"/>
                          </a:solidFill>
                          <a:latin typeface="Arial" panose="020B0604020202020204" pitchFamily="34" charset="0"/>
                          <a:ea typeface="微软雅黑" panose="020B0503020204020204" pitchFamily="34" charset="-122"/>
                        </a:rPr>
                        <a:t>223</a:t>
                      </a:r>
                      <a:endParaRPr lang="zh-CN" altLang="en-US" sz="1200" b="1"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rgbClr val="D2E5F6"/>
                    </a:solidFill>
                  </a:tcPr>
                </a:tc>
                <a:tc>
                  <a:txBody>
                    <a:bodyPr/>
                    <a:lstStyle/>
                    <a:p>
                      <a:pPr algn="ctr"/>
                      <a:r>
                        <a:rPr lang="en-US" altLang="zh-CN" sz="1200" b="1" baseline="0" dirty="0">
                          <a:solidFill>
                            <a:srgbClr val="2473BA"/>
                          </a:solidFill>
                          <a:latin typeface="Arial" panose="020B0604020202020204" pitchFamily="34" charset="0"/>
                          <a:ea typeface="微软雅黑" panose="020B0503020204020204" pitchFamily="34" charset="-122"/>
                        </a:rPr>
                        <a:t>0.39 (0.34–0.44)</a:t>
                      </a:r>
                      <a:endParaRPr lang="zh-CN" altLang="en-US" sz="1200" b="1" baseline="0" dirty="0">
                        <a:solidFill>
                          <a:srgbClr val="2473BA"/>
                        </a:solidFill>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rgbClr val="D2E5F6"/>
                    </a:solidFill>
                  </a:tcPr>
                </a:tc>
                <a:extLst>
                  <a:ext uri="{0D108BD9-81ED-4DB2-BD59-A6C34878D82A}">
                    <a16:rowId xmlns:a16="http://schemas.microsoft.com/office/drawing/2014/main" val="533847148"/>
                  </a:ext>
                </a:extLst>
              </a:tr>
              <a:tr h="288237">
                <a:tc>
                  <a:txBody>
                    <a:bodyPr/>
                    <a:lstStyle/>
                    <a:p>
                      <a:r>
                        <a:rPr lang="zh-CN" altLang="en-US" sz="1100" baseline="0" dirty="0">
                          <a:latin typeface="Arial" panose="020B0604020202020204" pitchFamily="34" charset="0"/>
                          <a:ea typeface="微软雅黑" panose="020B0503020204020204" pitchFamily="34" charset="-122"/>
                        </a:rPr>
                        <a:t>芬戈莫德</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latin typeface="Arial" panose="020B0604020202020204" pitchFamily="34" charset="0"/>
                          <a:ea typeface="微软雅黑" panose="020B0503020204020204" pitchFamily="34" charset="-122"/>
                        </a:rPr>
                        <a:t>1823</a:t>
                      </a:r>
                      <a:endParaRPr lang="zh-CN" altLang="en-US" sz="1100"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1" baseline="0" dirty="0">
                          <a:latin typeface="Arial" panose="020B0604020202020204" pitchFamily="34" charset="0"/>
                          <a:ea typeface="微软雅黑" panose="020B0503020204020204" pitchFamily="34" charset="-122"/>
                        </a:rPr>
                        <a:t>2.32 (2.20–2.44)</a:t>
                      </a:r>
                      <a:endParaRPr lang="zh-CN" altLang="en-US" sz="1100" b="1"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latin typeface="Arial" panose="020B0604020202020204" pitchFamily="34" charset="0"/>
                          <a:ea typeface="微软雅黑" panose="020B0503020204020204" pitchFamily="34" charset="-122"/>
                        </a:rPr>
                        <a:t>496</a:t>
                      </a:r>
                      <a:endParaRPr lang="zh-CN" altLang="en-US" sz="1100"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1" baseline="0" dirty="0">
                          <a:latin typeface="Arial" panose="020B0604020202020204" pitchFamily="34" charset="0"/>
                          <a:ea typeface="微软雅黑" panose="020B0503020204020204" pitchFamily="34" charset="-122"/>
                        </a:rPr>
                        <a:t>1.13 (1.03–1.24)</a:t>
                      </a:r>
                      <a:endParaRPr lang="zh-CN" altLang="en-US" sz="1100" b="1"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562985"/>
                  </a:ext>
                </a:extLst>
              </a:tr>
              <a:tr h="288237">
                <a:tc>
                  <a:txBody>
                    <a:bodyPr/>
                    <a:lstStyle/>
                    <a:p>
                      <a:r>
                        <a:rPr lang="zh-CN" altLang="en-US" sz="1100" baseline="0" dirty="0">
                          <a:latin typeface="Arial" panose="020B0604020202020204" pitchFamily="34" charset="0"/>
                          <a:ea typeface="微软雅黑" panose="020B0503020204020204" pitchFamily="34" charset="-122"/>
                        </a:rPr>
                        <a:t>特立氟胺</a:t>
                      </a: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latin typeface="Arial" panose="020B0604020202020204" pitchFamily="34" charset="0"/>
                          <a:ea typeface="微软雅黑" panose="020B0503020204020204" pitchFamily="34" charset="-122"/>
                        </a:rPr>
                        <a:t>578</a:t>
                      </a:r>
                      <a:endParaRPr lang="zh-CN" altLang="en-US" sz="1100"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1" baseline="0" dirty="0">
                          <a:latin typeface="Arial" panose="020B0604020202020204" pitchFamily="34" charset="0"/>
                          <a:ea typeface="微软雅黑" panose="020B0503020204020204" pitchFamily="34" charset="-122"/>
                        </a:rPr>
                        <a:t>2.37 (2.18–2.59)</a:t>
                      </a:r>
                      <a:endParaRPr lang="zh-CN" altLang="en-US" sz="1100" b="1"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altLang="zh-CN" sz="1100" baseline="0" dirty="0">
                          <a:latin typeface="Arial" panose="020B0604020202020204" pitchFamily="34" charset="0"/>
                          <a:ea typeface="微软雅黑" panose="020B0503020204020204" pitchFamily="34" charset="-122"/>
                        </a:rPr>
                        <a:t>158</a:t>
                      </a:r>
                      <a:endParaRPr lang="zh-CN" altLang="en-US" sz="1100"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100" baseline="0" dirty="0">
                          <a:latin typeface="Arial" panose="020B0604020202020204" pitchFamily="34" charset="0"/>
                          <a:ea typeface="微软雅黑" panose="020B0503020204020204" pitchFamily="34" charset="-122"/>
                        </a:rPr>
                        <a:t>1.16 (0.99–1.37)</a:t>
                      </a:r>
                      <a:endParaRPr lang="zh-CN" altLang="en-US" sz="1100" baseline="0" dirty="0">
                        <a:latin typeface="Arial" panose="020B0604020202020204" pitchFamily="34" charset="0"/>
                        <a:ea typeface="微软雅黑" panose="020B0503020204020204" pitchFamily="34" charset="-122"/>
                      </a:endParaRPr>
                    </a:p>
                  </a:txBody>
                  <a:tcPr anchor="ctr">
                    <a:lnL w="6350" cap="flat" cmpd="sng" algn="ctr">
                      <a:solidFill>
                        <a:srgbClr val="2473BA"/>
                      </a:solidFill>
                      <a:prstDash val="solid"/>
                      <a:round/>
                      <a:headEnd type="none" w="med" len="med"/>
                      <a:tailEnd type="none" w="med" len="med"/>
                    </a:lnL>
                    <a:lnR w="6350" cap="flat" cmpd="sng" algn="ctr">
                      <a:solidFill>
                        <a:srgbClr val="2473BA"/>
                      </a:solidFill>
                      <a:prstDash val="solid"/>
                      <a:round/>
                      <a:headEnd type="none" w="med" len="med"/>
                      <a:tailEnd type="none" w="med" len="med"/>
                    </a:lnR>
                    <a:lnT w="6350" cap="flat" cmpd="sng" algn="ctr">
                      <a:solidFill>
                        <a:srgbClr val="2473BA"/>
                      </a:solidFill>
                      <a:prstDash val="solid"/>
                      <a:round/>
                      <a:headEnd type="none" w="med" len="med"/>
                      <a:tailEnd type="none" w="med" len="med"/>
                    </a:lnT>
                    <a:lnB w="6350" cap="flat" cmpd="sng" algn="ctr">
                      <a:solidFill>
                        <a:srgbClr val="2473B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6794033"/>
                  </a:ext>
                </a:extLst>
              </a:tr>
            </a:tbl>
          </a:graphicData>
        </a:graphic>
      </p:graphicFrame>
      <p:sp>
        <p:nvSpPr>
          <p:cNvPr id="34" name="圆角矩形 15">
            <a:extLst>
              <a:ext uri="{FF2B5EF4-FFF2-40B4-BE49-F238E27FC236}">
                <a16:creationId xmlns:a16="http://schemas.microsoft.com/office/drawing/2014/main" id="{45B3512E-27EA-A5E8-2813-BFD330DDCAEB}"/>
              </a:ext>
            </a:extLst>
          </p:cNvPr>
          <p:cNvSpPr>
            <a:spLocks/>
          </p:cNvSpPr>
          <p:nvPr/>
        </p:nvSpPr>
        <p:spPr>
          <a:xfrm>
            <a:off x="5953720" y="904388"/>
            <a:ext cx="5780022" cy="752265"/>
          </a:xfrm>
          <a:prstGeom prst="roundRect">
            <a:avLst>
              <a:gd name="adj" fmla="val 2000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本品</a:t>
            </a:r>
            <a:r>
              <a:rPr kumimoji="0" lang="zh-CN" altLang="zh-CN"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肝损患者可用且无需调整剂量</a:t>
            </a:r>
            <a:r>
              <a:rPr kumimoji="0" lang="zh-CN" altLang="en-US"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zh-CN" sz="14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特立氟胺有肝毒性黑框警告且特立氟胺和芬戈莫德对于重度肝损伤患者均为禁用</a:t>
            </a:r>
            <a:r>
              <a:rPr kumimoji="0" lang="en-US" altLang="zh-CN" sz="1400" b="1"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zh-CN" sz="1400" b="1"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说明书</a:t>
            </a:r>
            <a:r>
              <a:rPr kumimoji="0" lang="en-US" altLang="zh-CN" sz="1400" b="1"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endParaRPr kumimoji="0" lang="zh-CN" altLang="zh-CN" sz="1400" b="1"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35" name="矩形 34">
            <a:extLst>
              <a:ext uri="{FF2B5EF4-FFF2-40B4-BE49-F238E27FC236}">
                <a16:creationId xmlns:a16="http://schemas.microsoft.com/office/drawing/2014/main" id="{A7B23CEB-9727-0A64-9BE3-6C39B42F81C2}"/>
              </a:ext>
            </a:extLst>
          </p:cNvPr>
          <p:cNvSpPr/>
          <p:nvPr/>
        </p:nvSpPr>
        <p:spPr>
          <a:xfrm>
            <a:off x="7829399" y="1936512"/>
            <a:ext cx="3745909" cy="1391471"/>
          </a:xfrm>
          <a:prstGeom prst="rect">
            <a:avLst/>
          </a:prstGeom>
          <a:noFill/>
          <a:ln>
            <a:noFill/>
          </a:ln>
        </p:spPr>
        <p:txBody>
          <a:bodyPr wrap="square" lIns="91440" tIns="45720" rIns="91440" bIns="4572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altLang="zh-CN"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FDA 5</a:t>
            </a:r>
            <a:r>
              <a:rPr kumimoji="0" lang="zh-CN" altLang="en-US"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年监测数据</a:t>
            </a:r>
            <a:r>
              <a:rPr kumimoji="0" lang="en-US" altLang="zh-CN" sz="2800" b="1" i="0" u="none" strike="noStrike" kern="1200" cap="none" spc="0" normalizeH="0" baseline="3000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8</a:t>
            </a:r>
            <a:r>
              <a:rPr kumimoji="0" lang="zh-CN" altLang="en-US"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rPr>
              <a:t>：</a:t>
            </a:r>
            <a:endParaRPr kumimoji="0" lang="en-US" altLang="zh-CN" sz="2800" b="1" i="0" u="none" strike="noStrike" kern="1200" cap="none" spc="0" normalizeH="0" baseline="0" noProof="0" dirty="0">
              <a:ln w="10160">
                <a:noFill/>
                <a:prstDash val="solid"/>
              </a:ln>
              <a:solidFill>
                <a:srgbClr val="2473BA"/>
              </a:solidFill>
              <a:effectLst/>
              <a:uLnTx/>
              <a:uFillTx/>
              <a:latin typeface="Arial" panose="020B0604020202020204" pitchFamily="34" charset="0"/>
              <a:ea typeface="微软雅黑" panose="020B0503020204020204" pitchFamily="34" charset="-122"/>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800" b="1" i="0" u="none" strike="noStrike" kern="1200" cap="none" spc="0" normalizeH="0" baseline="0" noProof="0" dirty="0">
                <a:ln w="10160">
                  <a:noFill/>
                  <a:prstDash val="solid"/>
                </a:ln>
                <a:solidFill>
                  <a:srgbClr val="2473BA"/>
                </a:solidFill>
                <a:effectLst/>
                <a:uLnTx/>
                <a:uFillTx/>
                <a:latin typeface="微软雅黑"/>
                <a:ea typeface="微软雅黑"/>
                <a:cs typeface="+mn-cs"/>
              </a:rPr>
              <a:t>本品药物性肝损的相对风险最低</a:t>
            </a:r>
            <a:r>
              <a:rPr kumimoji="0" lang="en-US" altLang="zh-CN" sz="1800" b="1" i="0" u="none" strike="noStrike" kern="1200" cap="none" spc="0" normalizeH="0" baseline="0" noProof="0" dirty="0">
                <a:ln w="10160">
                  <a:noFill/>
                  <a:prstDash val="solid"/>
                </a:ln>
                <a:solidFill>
                  <a:srgbClr val="2473BA"/>
                </a:solidFill>
                <a:effectLst/>
                <a:uLnTx/>
                <a:uFillTx/>
                <a:latin typeface="微软雅黑"/>
                <a:ea typeface="微软雅黑"/>
                <a:cs typeface="+mn-cs"/>
              </a:rPr>
              <a:t>  </a:t>
            </a:r>
            <a:r>
              <a:rPr kumimoji="0" lang="zh-CN" altLang="en-US" sz="1800" b="1" i="0" u="none" strike="noStrike" kern="1200" cap="none" spc="0" normalizeH="0" baseline="0" noProof="0" dirty="0">
                <a:ln w="10160">
                  <a:noFill/>
                  <a:prstDash val="solid"/>
                </a:ln>
                <a:solidFill>
                  <a:srgbClr val="2473BA"/>
                </a:solidFill>
                <a:effectLst/>
                <a:uLnTx/>
                <a:uFillTx/>
                <a:latin typeface="微软雅黑"/>
                <a:ea typeface="微软雅黑"/>
                <a:cs typeface="+mn-cs"/>
              </a:rPr>
              <a:t>（包括总体肝损伤和严重肝损伤）</a:t>
            </a:r>
            <a:endParaRPr kumimoji="0" lang="en-US" altLang="zh-CN" sz="1800" b="1" i="0" u="none" strike="noStrike" kern="1200" cap="none" spc="0" normalizeH="0" baseline="0" noProof="0" dirty="0">
              <a:ln w="10160">
                <a:noFill/>
                <a:prstDash val="solid"/>
              </a:ln>
              <a:solidFill>
                <a:srgbClr val="2473BA"/>
              </a:solidFill>
              <a:effectLst/>
              <a:uLnTx/>
              <a:uFillTx/>
              <a:latin typeface="微软雅黑"/>
              <a:ea typeface="微软雅黑"/>
              <a:cs typeface="+mn-cs"/>
            </a:endParaRPr>
          </a:p>
        </p:txBody>
      </p:sp>
      <p:sp>
        <p:nvSpPr>
          <p:cNvPr id="37" name="标题 36">
            <a:extLst>
              <a:ext uri="{FF2B5EF4-FFF2-40B4-BE49-F238E27FC236}">
                <a16:creationId xmlns:a16="http://schemas.microsoft.com/office/drawing/2014/main" id="{D405A6E0-300E-F0F2-0AC9-FDB8F954C15F}"/>
              </a:ext>
            </a:extLst>
          </p:cNvPr>
          <p:cNvSpPr>
            <a:spLocks noGrp="1"/>
          </p:cNvSpPr>
          <p:nvPr>
            <p:ph type="title"/>
          </p:nvPr>
        </p:nvSpPr>
        <p:spPr/>
        <p:txBody>
          <a:bodyPr>
            <a:normAutofit fontScale="90000"/>
          </a:bodyPr>
          <a:lstStyle/>
          <a:p>
            <a:r>
              <a:rPr lang="en-US" altLang="zh-CN" dirty="0"/>
              <a:t>02 </a:t>
            </a:r>
            <a:r>
              <a:rPr lang="zh-CN" altLang="en-US" dirty="0"/>
              <a:t>安全性</a:t>
            </a:r>
            <a:r>
              <a:rPr lang="en-US" altLang="zh-CN" dirty="0"/>
              <a:t>-</a:t>
            </a:r>
            <a:r>
              <a:rPr lang="zh-CN" altLang="en-US" dirty="0"/>
              <a:t>下：更适合特殊人群、特殊病生理状态</a:t>
            </a:r>
          </a:p>
        </p:txBody>
      </p:sp>
      <p:pic>
        <p:nvPicPr>
          <p:cNvPr id="40" name="图片 39" descr="图标&#10;&#10;描述已自动生成">
            <a:extLst>
              <a:ext uri="{FF2B5EF4-FFF2-40B4-BE49-F238E27FC236}">
                <a16:creationId xmlns:a16="http://schemas.microsoft.com/office/drawing/2014/main" id="{04B4CE5B-8B77-2535-25A3-940F4EFEAC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27073" y="2117061"/>
            <a:ext cx="1435137" cy="1148109"/>
          </a:xfrm>
          <a:prstGeom prst="rect">
            <a:avLst/>
          </a:prstGeom>
        </p:spPr>
      </p:pic>
      <p:sp>
        <p:nvSpPr>
          <p:cNvPr id="36" name="文本框 35">
            <a:extLst>
              <a:ext uri="{FF2B5EF4-FFF2-40B4-BE49-F238E27FC236}">
                <a16:creationId xmlns:a16="http://schemas.microsoft.com/office/drawing/2014/main" id="{DE72ADF3-9117-E224-C36E-B37C7F38F0F5}"/>
              </a:ext>
            </a:extLst>
          </p:cNvPr>
          <p:cNvSpPr txBox="1"/>
          <p:nvPr/>
        </p:nvSpPr>
        <p:spPr>
          <a:xfrm>
            <a:off x="499644" y="5820378"/>
            <a:ext cx="1142024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zh-CN" sz="800" b="0" i="0" u="none" strike="noStrike" kern="1200" cap="none" spc="0" normalizeH="0" baseline="0" noProof="0" dirty="0">
                <a:ln>
                  <a:noFill/>
                </a:ln>
                <a:solidFill>
                  <a:prstClr val="black"/>
                </a:solidFill>
                <a:effectLst/>
                <a:uLnTx/>
                <a:uFillTx/>
                <a:latin typeface="微软雅黑"/>
                <a:ea typeface="微软雅黑"/>
                <a:cs typeface="+mn-cs"/>
              </a:rPr>
              <a:t>8. Antonazzo, I.C et al. Mult Scler, 2019. 25(12): p. 1633-1640          9.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富马酸二甲酯中文说明书  </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核准日期：</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21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年 </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4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月</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13</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日</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        10. </a:t>
            </a:r>
            <a:r>
              <a:rPr kumimoji="0" lang="fr-FR" altLang="zh-CN" sz="800" b="0" i="0" u="none" strike="noStrike" kern="1200" cap="none" spc="0" normalizeH="0" baseline="0" noProof="0" dirty="0">
                <a:ln>
                  <a:noFill/>
                </a:ln>
                <a:solidFill>
                  <a:prstClr val="black"/>
                </a:solidFill>
                <a:effectLst/>
                <a:uLnTx/>
                <a:uFillTx/>
                <a:latin typeface="微软雅黑"/>
                <a:ea typeface="微软雅黑"/>
                <a:cs typeface="+mn-cs"/>
              </a:rPr>
              <a:t>Coyle, P.K., et al.,Mult Scler Relat Disord, 2019. 32: p. 54-6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zh-CN" sz="800" b="0" i="0" u="none" strike="noStrike" kern="1200" cap="none" spc="0" normalizeH="0" baseline="0" noProof="0" dirty="0">
                <a:ln>
                  <a:noFill/>
                </a:ln>
                <a:solidFill>
                  <a:prstClr val="black"/>
                </a:solidFill>
                <a:effectLst/>
                <a:uLnTx/>
                <a:uFillTx/>
                <a:latin typeface="微软雅黑"/>
                <a:ea typeface="微软雅黑"/>
                <a:cs typeface="+mn-cs"/>
              </a:rPr>
              <a:t>11.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芬戈莫德中文说明书</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核准日期：</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19</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年</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7</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月</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12</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日</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        12. </a:t>
            </a:r>
            <a:r>
              <a:rPr kumimoji="0" lang="fr-FR" altLang="zh-CN" sz="800" b="0" i="0" u="none" strike="noStrike" kern="1200" cap="none" spc="0" normalizeH="0" baseline="0" noProof="0" dirty="0">
                <a:ln>
                  <a:noFill/>
                </a:ln>
                <a:solidFill>
                  <a:prstClr val="black"/>
                </a:solidFill>
                <a:effectLst/>
                <a:uLnTx/>
                <a:uFillTx/>
                <a:latin typeface="微软雅黑"/>
                <a:ea typeface="微软雅黑"/>
                <a:cs typeface="+mn-cs"/>
              </a:rPr>
              <a:t>Voskuhl, R. and C. Momtazee, Neurotherapeutics, 2017. 14(4): p. 974-984.       13.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西尼莫德中文说明书</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批准日期：</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20</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年</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05</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月</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07</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日 ）      </a:t>
            </a:r>
            <a:endPar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14. </a:t>
            </a:r>
            <a:r>
              <a:rPr kumimoji="0" lang="fr-FR" altLang="zh-CN" sz="800" b="0" i="0" u="none" strike="noStrike" kern="1200" cap="none" spc="0" normalizeH="0" baseline="0" noProof="0" dirty="0">
                <a:ln>
                  <a:noFill/>
                </a:ln>
                <a:solidFill>
                  <a:prstClr val="black"/>
                </a:solidFill>
                <a:effectLst/>
                <a:uLnTx/>
                <a:uFillTx/>
                <a:latin typeface="微软雅黑"/>
                <a:ea typeface="微软雅黑"/>
                <a:cs typeface="+mn-cs"/>
              </a:rPr>
              <a:t>Coyle, P., et al., n ECTRIMS Congress. 2021: Virtual. Poster P874             15.</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奥法妥木单抗中文说明书</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核准时间：</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21</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年</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12</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月</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日</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        16.</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特立氟胺中文说明书</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核准日期： </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2018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年</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7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月</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18 </a:t>
            </a:r>
            <a:r>
              <a:rPr kumimoji="0" lang="zh-CN" altLang="en-US" sz="800" b="0" i="0" u="none" strike="noStrike" kern="1200" cap="none" spc="0" normalizeH="0" baseline="0" noProof="0" dirty="0">
                <a:ln>
                  <a:noFill/>
                </a:ln>
                <a:solidFill>
                  <a:prstClr val="black"/>
                </a:solidFill>
                <a:effectLst/>
                <a:uLnTx/>
                <a:uFillTx/>
                <a:latin typeface="微软雅黑"/>
                <a:ea typeface="微软雅黑"/>
                <a:cs typeface="+mn-cs"/>
              </a:rPr>
              <a:t>日</a:t>
            </a:r>
            <a:r>
              <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800" b="0" i="0" u="none" strike="noStrike" kern="1200" cap="none" spc="0" normalizeH="0" baseline="0" noProof="0" dirty="0">
              <a:ln>
                <a:noFill/>
              </a:ln>
              <a:solidFill>
                <a:prstClr val="black"/>
              </a:solidFill>
              <a:effectLst/>
              <a:uLnTx/>
              <a:uFillTx/>
              <a:latin typeface="微软雅黑"/>
              <a:ea typeface="微软雅黑"/>
              <a:cs typeface="+mn-cs"/>
            </a:endParaRPr>
          </a:p>
        </p:txBody>
      </p:sp>
    </p:spTree>
    <p:custDataLst>
      <p:tags r:id="rId1"/>
    </p:custDataLst>
    <p:extLst>
      <p:ext uri="{BB962C8B-B14F-4D97-AF65-F5344CB8AC3E}">
        <p14:creationId xmlns:p14="http://schemas.microsoft.com/office/powerpoint/2010/main" val="4005424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圆角 19">
            <a:extLst>
              <a:ext uri="{FF2B5EF4-FFF2-40B4-BE49-F238E27FC236}">
                <a16:creationId xmlns:a16="http://schemas.microsoft.com/office/drawing/2014/main" id="{0B3C5286-D2E4-51EF-6117-6404B858EBDA}"/>
              </a:ext>
            </a:extLst>
          </p:cNvPr>
          <p:cNvSpPr/>
          <p:nvPr/>
        </p:nvSpPr>
        <p:spPr>
          <a:xfrm>
            <a:off x="396082" y="4688940"/>
            <a:ext cx="11249431" cy="1013690"/>
          </a:xfrm>
          <a:prstGeom prst="roundRect">
            <a:avLst>
              <a:gd name="adj" fmla="val 0"/>
            </a:avLst>
          </a:prstGeom>
          <a:gradFill>
            <a:gsLst>
              <a:gs pos="0">
                <a:srgbClr val="D2E5F6">
                  <a:alpha val="43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矩形: 圆角 18">
            <a:extLst>
              <a:ext uri="{FF2B5EF4-FFF2-40B4-BE49-F238E27FC236}">
                <a16:creationId xmlns:a16="http://schemas.microsoft.com/office/drawing/2014/main" id="{D6F4F6E0-8E64-E4B5-4014-556D6CC46623}"/>
              </a:ext>
            </a:extLst>
          </p:cNvPr>
          <p:cNvSpPr/>
          <p:nvPr/>
        </p:nvSpPr>
        <p:spPr>
          <a:xfrm>
            <a:off x="396082" y="2734450"/>
            <a:ext cx="11249431" cy="1826676"/>
          </a:xfrm>
          <a:prstGeom prst="roundRect">
            <a:avLst>
              <a:gd name="adj" fmla="val 0"/>
            </a:avLst>
          </a:prstGeom>
          <a:gradFill>
            <a:gsLst>
              <a:gs pos="0">
                <a:srgbClr val="D2E5F6">
                  <a:alpha val="43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矩形: 圆角 6">
            <a:extLst>
              <a:ext uri="{FF2B5EF4-FFF2-40B4-BE49-F238E27FC236}">
                <a16:creationId xmlns:a16="http://schemas.microsoft.com/office/drawing/2014/main" id="{E3776022-39B0-ED96-C5FB-D60CEA33A606}"/>
              </a:ext>
            </a:extLst>
          </p:cNvPr>
          <p:cNvSpPr/>
          <p:nvPr/>
        </p:nvSpPr>
        <p:spPr>
          <a:xfrm>
            <a:off x="396082" y="1591435"/>
            <a:ext cx="11249431" cy="978098"/>
          </a:xfrm>
          <a:prstGeom prst="roundRect">
            <a:avLst>
              <a:gd name="adj" fmla="val 0"/>
            </a:avLst>
          </a:prstGeom>
          <a:gradFill>
            <a:gsLst>
              <a:gs pos="0">
                <a:srgbClr val="D2E5F6">
                  <a:alpha val="43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矩形: 圆顶角 12">
            <a:extLst>
              <a:ext uri="{FF2B5EF4-FFF2-40B4-BE49-F238E27FC236}">
                <a16:creationId xmlns:a16="http://schemas.microsoft.com/office/drawing/2014/main" id="{79A5DA5C-FF91-E501-552A-301E1032C90C}"/>
              </a:ext>
            </a:extLst>
          </p:cNvPr>
          <p:cNvSpPr/>
          <p:nvPr/>
        </p:nvSpPr>
        <p:spPr>
          <a:xfrm rot="5400000">
            <a:off x="5770068" y="-4127864"/>
            <a:ext cx="576732" cy="10505845"/>
          </a:xfrm>
          <a:prstGeom prst="round2SameRect">
            <a:avLst>
              <a:gd name="adj1" fmla="val 50000"/>
              <a:gd name="adj2" fmla="val 0"/>
            </a:avLst>
          </a:prstGeom>
          <a:solidFill>
            <a:srgbClr val="2473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70AFC64E-3DAB-5C6A-BF59-6558CEFE451A}"/>
              </a:ext>
            </a:extLst>
          </p:cNvPr>
          <p:cNvSpPr/>
          <p:nvPr/>
        </p:nvSpPr>
        <p:spPr>
          <a:xfrm>
            <a:off x="449571" y="738984"/>
            <a:ext cx="754743" cy="754743"/>
          </a:xfrm>
          <a:prstGeom prst="ellipse">
            <a:avLst/>
          </a:prstGeom>
          <a:solidFill>
            <a:schemeClr val="bg1"/>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1"/>
            </p:custDataLst>
            <p:extLst>
              <p:ext uri="{D42A27DB-BD31-4B8C-83A1-F6EECF244321}">
                <p14:modId xmlns:p14="http://schemas.microsoft.com/office/powerpoint/2010/main" val="354091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圆角矩形 15">
            <a:extLst>
              <a:ext uri="{FF2B5EF4-FFF2-40B4-BE49-F238E27FC236}">
                <a16:creationId xmlns:a16="http://schemas.microsoft.com/office/drawing/2014/main" id="{E5B9B3D7-4F81-96A9-8F5C-4B1BEE245688}"/>
              </a:ext>
            </a:extLst>
          </p:cNvPr>
          <p:cNvSpPr>
            <a:spLocks/>
          </p:cNvSpPr>
          <p:nvPr/>
        </p:nvSpPr>
        <p:spPr>
          <a:xfrm>
            <a:off x="2433962" y="767993"/>
            <a:ext cx="7248943" cy="714130"/>
          </a:xfrm>
          <a:prstGeom prst="roundRect">
            <a:avLst>
              <a:gd name="adj" fmla="val 0"/>
            </a:avLst>
          </a:prstGeom>
          <a:no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cs"/>
              </a:rPr>
              <a:t>富马酸二甲酯一线高效，</a:t>
            </a:r>
            <a:r>
              <a:rPr lang="zh-CN" altLang="en-US" sz="2000" b="1" dirty="0">
                <a:solidFill>
                  <a:schemeClr val="bg1"/>
                </a:solidFill>
                <a:latin typeface="Arial" panose="020B0604020202020204" pitchFamily="34" charset="0"/>
                <a:ea typeface="微软雅黑" panose="020B0503020204020204" pitchFamily="34" charset="-122"/>
              </a:rPr>
              <a:t>可长期控制疾病进展，</a:t>
            </a:r>
            <a:r>
              <a:rPr kumimoji="0" lang="zh-CN" altLang="en-US" sz="2000" b="1" i="0" u="none" strike="noStrike" kern="120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cs typeface="+mn-cs"/>
              </a:rPr>
              <a:t>获益风险比高</a:t>
            </a:r>
          </a:p>
        </p:txBody>
      </p:sp>
      <p:sp>
        <p:nvSpPr>
          <p:cNvPr id="10" name="文本框 9">
            <a:extLst>
              <a:ext uri="{FF2B5EF4-FFF2-40B4-BE49-F238E27FC236}">
                <a16:creationId xmlns:a16="http://schemas.microsoft.com/office/drawing/2014/main" id="{0A821CFE-D687-59F7-50E3-17FFD81BB6C7}"/>
              </a:ext>
            </a:extLst>
          </p:cNvPr>
          <p:cNvSpPr txBox="1"/>
          <p:nvPr/>
        </p:nvSpPr>
        <p:spPr>
          <a:xfrm>
            <a:off x="499643" y="1639210"/>
            <a:ext cx="11120842" cy="882549"/>
          </a:xfrm>
          <a:prstGeom prst="rect">
            <a:avLst/>
          </a:prstGeom>
          <a:noFill/>
        </p:spPr>
        <p:txBody>
          <a:bodyPr wrap="square" anchor="ctr">
            <a:spAutoFit/>
          </a:bodyPr>
          <a:lstStyle/>
          <a:p>
            <a:pPr marL="180000" marR="0" lvl="0" indent="-180000" algn="l" defTabSz="913765"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3</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期临床试验及其扩展研究表明</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年复发率为</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0.19</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相比安慰剂年复发率显著降低</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49%</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17</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新患者持续使用</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年，年复发率降低</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56%</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18</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连续</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10</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年使用</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45%</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患者无复发、</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81%</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无残疾进展</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包括视觉、行走、认知等）、</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77%</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患者行走无障碍</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19</a:t>
            </a:r>
            <a:r>
              <a:rPr lang="zh-CN" altLang="en-US" sz="1400" dirty="0">
                <a:solidFill>
                  <a:srgbClr val="2473BA"/>
                </a:solidFill>
                <a:latin typeface="Arial" panose="020B0604020202020204" pitchFamily="34" charset="0"/>
                <a:ea typeface="微软雅黑" panose="020B0503020204020204" pitchFamily="34" charset="-122"/>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入组</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中国人群的三期临床疗效结果与总体人群一致</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20</a:t>
            </a:r>
            <a:r>
              <a:rPr lang="zh-CN" altLang="en-US" sz="1400" dirty="0">
                <a:solidFill>
                  <a:srgbClr val="2473BA"/>
                </a:solidFill>
                <a:latin typeface="Arial" panose="020B0604020202020204" pitchFamily="34" charset="0"/>
                <a:ea typeface="微软雅黑" panose="020B0503020204020204" pitchFamily="34" charset="-122"/>
              </a:rPr>
              <a:t>）</a:t>
            </a:r>
            <a:endPar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21" name="iconfont-11157-5276535">
            <a:extLst>
              <a:ext uri="{FF2B5EF4-FFF2-40B4-BE49-F238E27FC236}">
                <a16:creationId xmlns:a16="http://schemas.microsoft.com/office/drawing/2014/main" id="{4BFF3E2E-4501-69E3-BA6B-C06A06D886E3}"/>
              </a:ext>
            </a:extLst>
          </p:cNvPr>
          <p:cNvSpPr/>
          <p:nvPr/>
        </p:nvSpPr>
        <p:spPr>
          <a:xfrm>
            <a:off x="597270" y="856979"/>
            <a:ext cx="468000" cy="467239"/>
          </a:xfrm>
          <a:custGeom>
            <a:avLst/>
            <a:gdLst>
              <a:gd name="T0" fmla="*/ 6173 w 6173"/>
              <a:gd name="T1" fmla="*/ 4259 h 6173"/>
              <a:gd name="T2" fmla="*/ 6172 w 6173"/>
              <a:gd name="T3" fmla="*/ 4243 h 6173"/>
              <a:gd name="T4" fmla="*/ 6168 w 6173"/>
              <a:gd name="T5" fmla="*/ 4229 h 6173"/>
              <a:gd name="T6" fmla="*/ 6164 w 6173"/>
              <a:gd name="T7" fmla="*/ 4219 h 6173"/>
              <a:gd name="T8" fmla="*/ 5113 w 6173"/>
              <a:gd name="T9" fmla="*/ 1587 h 6173"/>
              <a:gd name="T10" fmla="*/ 5146 w 6173"/>
              <a:gd name="T11" fmla="*/ 1160 h 6173"/>
              <a:gd name="T12" fmla="*/ 3507 w 6173"/>
              <a:gd name="T13" fmla="*/ 420 h 6173"/>
              <a:gd name="T14" fmla="*/ 2773 w 6173"/>
              <a:gd name="T15" fmla="*/ 699 h 6173"/>
              <a:gd name="T16" fmla="*/ 853 w 6173"/>
              <a:gd name="T17" fmla="*/ 1364 h 6173"/>
              <a:gd name="T18" fmla="*/ 1067 w 6173"/>
              <a:gd name="T19" fmla="*/ 1587 h 6173"/>
              <a:gd name="T20" fmla="*/ 9 w 6173"/>
              <a:gd name="T21" fmla="*/ 4220 h 6173"/>
              <a:gd name="T22" fmla="*/ 3 w 6173"/>
              <a:gd name="T23" fmla="*/ 4234 h 6173"/>
              <a:gd name="T24" fmla="*/ 1 w 6173"/>
              <a:gd name="T25" fmla="*/ 4249 h 6173"/>
              <a:gd name="T26" fmla="*/ 0 w 6173"/>
              <a:gd name="T27" fmla="*/ 4260 h 6173"/>
              <a:gd name="T28" fmla="*/ 1167 w 6173"/>
              <a:gd name="T29" fmla="*/ 5000 h 6173"/>
              <a:gd name="T30" fmla="*/ 2333 w 6173"/>
              <a:gd name="T31" fmla="*/ 4260 h 6173"/>
              <a:gd name="T32" fmla="*/ 2333 w 6173"/>
              <a:gd name="T33" fmla="*/ 4249 h 6173"/>
              <a:gd name="T34" fmla="*/ 2330 w 6173"/>
              <a:gd name="T35" fmla="*/ 4234 h 6173"/>
              <a:gd name="T36" fmla="*/ 2325 w 6173"/>
              <a:gd name="T37" fmla="*/ 4220 h 6173"/>
              <a:gd name="T38" fmla="*/ 1267 w 6173"/>
              <a:gd name="T39" fmla="*/ 1587 h 6173"/>
              <a:gd name="T40" fmla="*/ 2667 w 6173"/>
              <a:gd name="T41" fmla="*/ 3940 h 6173"/>
              <a:gd name="T42" fmla="*/ 1813 w 6173"/>
              <a:gd name="T43" fmla="*/ 5910 h 6173"/>
              <a:gd name="T44" fmla="*/ 4260 w 6173"/>
              <a:gd name="T45" fmla="*/ 6173 h 6173"/>
              <a:gd name="T46" fmla="*/ 4140 w 6173"/>
              <a:gd name="T47" fmla="*/ 5611 h 6173"/>
              <a:gd name="T48" fmla="*/ 3400 w 6173"/>
              <a:gd name="T49" fmla="*/ 3759 h 6173"/>
              <a:gd name="T50" fmla="*/ 4907 w 6173"/>
              <a:gd name="T51" fmla="*/ 1892 h 6173"/>
              <a:gd name="T52" fmla="*/ 3846 w 6173"/>
              <a:gd name="T53" fmla="*/ 4226 h 6173"/>
              <a:gd name="T54" fmla="*/ 3842 w 6173"/>
              <a:gd name="T55" fmla="*/ 4239 h 6173"/>
              <a:gd name="T56" fmla="*/ 3840 w 6173"/>
              <a:gd name="T57" fmla="*/ 4252 h 6173"/>
              <a:gd name="T58" fmla="*/ 3840 w 6173"/>
              <a:gd name="T59" fmla="*/ 4264 h 6173"/>
              <a:gd name="T60" fmla="*/ 6173 w 6173"/>
              <a:gd name="T61" fmla="*/ 4268 h 6173"/>
              <a:gd name="T62" fmla="*/ 2078 w 6173"/>
              <a:gd name="T63" fmla="*/ 4160 h 6173"/>
              <a:gd name="T64" fmla="*/ 1167 w 6173"/>
              <a:gd name="T65" fmla="*/ 4800 h 6173"/>
              <a:gd name="T66" fmla="*/ 1167 w 6173"/>
              <a:gd name="T67" fmla="*/ 4800 h 6173"/>
              <a:gd name="T68" fmla="*/ 2867 w 6173"/>
              <a:gd name="T69" fmla="*/ 5387 h 6173"/>
              <a:gd name="T70" fmla="*/ 3300 w 6173"/>
              <a:gd name="T71" fmla="*/ 3933 h 6173"/>
              <a:gd name="T72" fmla="*/ 2973 w 6173"/>
              <a:gd name="T73" fmla="*/ 824 h 6173"/>
              <a:gd name="T74" fmla="*/ 3200 w 6173"/>
              <a:gd name="T75" fmla="*/ 3733 h 6173"/>
              <a:gd name="T76" fmla="*/ 3307 w 6173"/>
              <a:gd name="T77" fmla="*/ 420 h 6173"/>
              <a:gd name="T78" fmla="*/ 3087 w 6173"/>
              <a:gd name="T79" fmla="*/ 200 h 6173"/>
              <a:gd name="T80" fmla="*/ 1053 w 6173"/>
              <a:gd name="T81" fmla="*/ 1364 h 6173"/>
              <a:gd name="T82" fmla="*/ 2773 w 6173"/>
              <a:gd name="T83" fmla="*/ 1387 h 6173"/>
              <a:gd name="T84" fmla="*/ 4160 w 6173"/>
              <a:gd name="T85" fmla="*/ 5973 h 6173"/>
              <a:gd name="T86" fmla="*/ 2093 w 6173"/>
              <a:gd name="T87" fmla="*/ 5802 h 6173"/>
              <a:gd name="T88" fmla="*/ 4080 w 6173"/>
              <a:gd name="T89" fmla="*/ 5802 h 6173"/>
              <a:gd name="T90" fmla="*/ 5114 w 6173"/>
              <a:gd name="T91" fmla="*/ 1358 h 6173"/>
              <a:gd name="T92" fmla="*/ 5113 w 6173"/>
              <a:gd name="T93" fmla="*/ 1387 h 6173"/>
              <a:gd name="T94" fmla="*/ 5007 w 6173"/>
              <a:gd name="T95" fmla="*/ 2155 h 6173"/>
              <a:gd name="T96" fmla="*/ 5007 w 6173"/>
              <a:gd name="T97" fmla="*/ 2155 h 6173"/>
              <a:gd name="T98" fmla="*/ 5956 w 6173"/>
              <a:gd name="T99" fmla="*/ 4360 h 6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73" h="6173">
                <a:moveTo>
                  <a:pt x="6173" y="4264"/>
                </a:moveTo>
                <a:cubicBezTo>
                  <a:pt x="6173" y="4263"/>
                  <a:pt x="6173" y="4261"/>
                  <a:pt x="6173" y="4260"/>
                </a:cubicBezTo>
                <a:cubicBezTo>
                  <a:pt x="6173" y="4260"/>
                  <a:pt x="6173" y="4259"/>
                  <a:pt x="6173" y="4259"/>
                </a:cubicBezTo>
                <a:cubicBezTo>
                  <a:pt x="6173" y="4257"/>
                  <a:pt x="6173" y="4255"/>
                  <a:pt x="6173" y="4252"/>
                </a:cubicBezTo>
                <a:cubicBezTo>
                  <a:pt x="6173" y="4251"/>
                  <a:pt x="6173" y="4250"/>
                  <a:pt x="6173" y="4249"/>
                </a:cubicBezTo>
                <a:cubicBezTo>
                  <a:pt x="6172" y="4247"/>
                  <a:pt x="6172" y="4245"/>
                  <a:pt x="6172" y="4243"/>
                </a:cubicBezTo>
                <a:cubicBezTo>
                  <a:pt x="6172" y="4242"/>
                  <a:pt x="6171" y="4240"/>
                  <a:pt x="6171" y="4239"/>
                </a:cubicBezTo>
                <a:cubicBezTo>
                  <a:pt x="6171" y="4237"/>
                  <a:pt x="6170" y="4236"/>
                  <a:pt x="6170" y="4234"/>
                </a:cubicBezTo>
                <a:cubicBezTo>
                  <a:pt x="6169" y="4233"/>
                  <a:pt x="6169" y="4231"/>
                  <a:pt x="6168" y="4229"/>
                </a:cubicBezTo>
                <a:cubicBezTo>
                  <a:pt x="6168" y="4228"/>
                  <a:pt x="6168" y="4227"/>
                  <a:pt x="6167" y="4226"/>
                </a:cubicBezTo>
                <a:cubicBezTo>
                  <a:pt x="6166" y="4224"/>
                  <a:pt x="6166" y="4222"/>
                  <a:pt x="6165" y="4220"/>
                </a:cubicBezTo>
                <a:cubicBezTo>
                  <a:pt x="6165" y="4219"/>
                  <a:pt x="6165" y="4219"/>
                  <a:pt x="6164" y="4219"/>
                </a:cubicBezTo>
                <a:lnTo>
                  <a:pt x="5107" y="1892"/>
                </a:lnTo>
                <a:lnTo>
                  <a:pt x="5107" y="1587"/>
                </a:lnTo>
                <a:lnTo>
                  <a:pt x="5113" y="1587"/>
                </a:lnTo>
                <a:cubicBezTo>
                  <a:pt x="5227" y="1587"/>
                  <a:pt x="5320" y="1494"/>
                  <a:pt x="5320" y="1380"/>
                </a:cubicBezTo>
                <a:lnTo>
                  <a:pt x="5320" y="1364"/>
                </a:lnTo>
                <a:cubicBezTo>
                  <a:pt x="5320" y="1262"/>
                  <a:pt x="5247" y="1176"/>
                  <a:pt x="5146" y="1160"/>
                </a:cubicBezTo>
                <a:lnTo>
                  <a:pt x="3400" y="878"/>
                </a:lnTo>
                <a:lnTo>
                  <a:pt x="3400" y="699"/>
                </a:lnTo>
                <a:cubicBezTo>
                  <a:pt x="3466" y="625"/>
                  <a:pt x="3507" y="527"/>
                  <a:pt x="3507" y="420"/>
                </a:cubicBezTo>
                <a:cubicBezTo>
                  <a:pt x="3507" y="188"/>
                  <a:pt x="3318" y="0"/>
                  <a:pt x="3087" y="0"/>
                </a:cubicBezTo>
                <a:cubicBezTo>
                  <a:pt x="2855" y="0"/>
                  <a:pt x="2667" y="188"/>
                  <a:pt x="2667" y="420"/>
                </a:cubicBezTo>
                <a:cubicBezTo>
                  <a:pt x="2667" y="527"/>
                  <a:pt x="2707" y="625"/>
                  <a:pt x="2773" y="699"/>
                </a:cubicBezTo>
                <a:lnTo>
                  <a:pt x="2773" y="869"/>
                </a:lnTo>
                <a:lnTo>
                  <a:pt x="1026" y="1160"/>
                </a:lnTo>
                <a:cubicBezTo>
                  <a:pt x="926" y="1177"/>
                  <a:pt x="853" y="1262"/>
                  <a:pt x="853" y="1364"/>
                </a:cubicBezTo>
                <a:lnTo>
                  <a:pt x="853" y="1380"/>
                </a:lnTo>
                <a:cubicBezTo>
                  <a:pt x="853" y="1494"/>
                  <a:pt x="946" y="1587"/>
                  <a:pt x="1060" y="1587"/>
                </a:cubicBezTo>
                <a:lnTo>
                  <a:pt x="1067" y="1587"/>
                </a:lnTo>
                <a:lnTo>
                  <a:pt x="1067" y="1892"/>
                </a:lnTo>
                <a:lnTo>
                  <a:pt x="9" y="4219"/>
                </a:lnTo>
                <a:cubicBezTo>
                  <a:pt x="9" y="4219"/>
                  <a:pt x="9" y="4219"/>
                  <a:pt x="9" y="4220"/>
                </a:cubicBezTo>
                <a:cubicBezTo>
                  <a:pt x="8" y="4222"/>
                  <a:pt x="7" y="4224"/>
                  <a:pt x="6" y="4226"/>
                </a:cubicBezTo>
                <a:cubicBezTo>
                  <a:pt x="6" y="4227"/>
                  <a:pt x="5" y="4228"/>
                  <a:pt x="5" y="4229"/>
                </a:cubicBezTo>
                <a:cubicBezTo>
                  <a:pt x="4" y="4231"/>
                  <a:pt x="4" y="4233"/>
                  <a:pt x="3" y="4234"/>
                </a:cubicBezTo>
                <a:cubicBezTo>
                  <a:pt x="3" y="4236"/>
                  <a:pt x="3" y="4237"/>
                  <a:pt x="2" y="4239"/>
                </a:cubicBezTo>
                <a:cubicBezTo>
                  <a:pt x="2" y="4240"/>
                  <a:pt x="2" y="4242"/>
                  <a:pt x="2" y="4243"/>
                </a:cubicBezTo>
                <a:cubicBezTo>
                  <a:pt x="1" y="4245"/>
                  <a:pt x="1" y="4247"/>
                  <a:pt x="1" y="4249"/>
                </a:cubicBezTo>
                <a:cubicBezTo>
                  <a:pt x="1" y="4250"/>
                  <a:pt x="0" y="4251"/>
                  <a:pt x="0" y="4252"/>
                </a:cubicBezTo>
                <a:cubicBezTo>
                  <a:pt x="0" y="4255"/>
                  <a:pt x="0" y="4257"/>
                  <a:pt x="0" y="4259"/>
                </a:cubicBezTo>
                <a:cubicBezTo>
                  <a:pt x="0" y="4259"/>
                  <a:pt x="0" y="4260"/>
                  <a:pt x="0" y="4260"/>
                </a:cubicBezTo>
                <a:cubicBezTo>
                  <a:pt x="0" y="4261"/>
                  <a:pt x="0" y="4263"/>
                  <a:pt x="0" y="4264"/>
                </a:cubicBezTo>
                <a:cubicBezTo>
                  <a:pt x="0" y="4265"/>
                  <a:pt x="0" y="4266"/>
                  <a:pt x="0" y="4268"/>
                </a:cubicBezTo>
                <a:cubicBezTo>
                  <a:pt x="7" y="4679"/>
                  <a:pt x="516" y="5000"/>
                  <a:pt x="1167" y="5000"/>
                </a:cubicBezTo>
                <a:cubicBezTo>
                  <a:pt x="1817" y="5000"/>
                  <a:pt x="2327" y="4679"/>
                  <a:pt x="2333" y="4268"/>
                </a:cubicBezTo>
                <a:cubicBezTo>
                  <a:pt x="2333" y="4266"/>
                  <a:pt x="2333" y="4265"/>
                  <a:pt x="2333" y="4264"/>
                </a:cubicBezTo>
                <a:cubicBezTo>
                  <a:pt x="2333" y="4263"/>
                  <a:pt x="2333" y="4261"/>
                  <a:pt x="2333" y="4260"/>
                </a:cubicBezTo>
                <a:cubicBezTo>
                  <a:pt x="2333" y="4260"/>
                  <a:pt x="2333" y="4259"/>
                  <a:pt x="2333" y="4259"/>
                </a:cubicBezTo>
                <a:cubicBezTo>
                  <a:pt x="2333" y="4257"/>
                  <a:pt x="2333" y="4255"/>
                  <a:pt x="2333" y="4252"/>
                </a:cubicBezTo>
                <a:cubicBezTo>
                  <a:pt x="2333" y="4251"/>
                  <a:pt x="2333" y="4250"/>
                  <a:pt x="2333" y="4249"/>
                </a:cubicBezTo>
                <a:cubicBezTo>
                  <a:pt x="2332" y="4247"/>
                  <a:pt x="2332" y="4245"/>
                  <a:pt x="2332" y="4243"/>
                </a:cubicBezTo>
                <a:cubicBezTo>
                  <a:pt x="2332" y="4242"/>
                  <a:pt x="2331" y="4240"/>
                  <a:pt x="2331" y="4239"/>
                </a:cubicBezTo>
                <a:cubicBezTo>
                  <a:pt x="2331" y="4237"/>
                  <a:pt x="2330" y="4236"/>
                  <a:pt x="2330" y="4234"/>
                </a:cubicBezTo>
                <a:cubicBezTo>
                  <a:pt x="2329" y="4233"/>
                  <a:pt x="2329" y="4231"/>
                  <a:pt x="2328" y="4229"/>
                </a:cubicBezTo>
                <a:cubicBezTo>
                  <a:pt x="2328" y="4228"/>
                  <a:pt x="2328" y="4227"/>
                  <a:pt x="2327" y="4226"/>
                </a:cubicBezTo>
                <a:cubicBezTo>
                  <a:pt x="2326" y="4224"/>
                  <a:pt x="2326" y="4222"/>
                  <a:pt x="2325" y="4220"/>
                </a:cubicBezTo>
                <a:cubicBezTo>
                  <a:pt x="2325" y="4219"/>
                  <a:pt x="2325" y="4219"/>
                  <a:pt x="2324" y="4219"/>
                </a:cubicBezTo>
                <a:lnTo>
                  <a:pt x="1267" y="1892"/>
                </a:lnTo>
                <a:lnTo>
                  <a:pt x="1267" y="1587"/>
                </a:lnTo>
                <a:lnTo>
                  <a:pt x="2773" y="1587"/>
                </a:lnTo>
                <a:lnTo>
                  <a:pt x="2773" y="3759"/>
                </a:lnTo>
                <a:cubicBezTo>
                  <a:pt x="2710" y="3795"/>
                  <a:pt x="2667" y="3862"/>
                  <a:pt x="2667" y="3940"/>
                </a:cubicBezTo>
                <a:lnTo>
                  <a:pt x="2667" y="5413"/>
                </a:lnTo>
                <a:lnTo>
                  <a:pt x="2033" y="5611"/>
                </a:lnTo>
                <a:cubicBezTo>
                  <a:pt x="1902" y="5652"/>
                  <a:pt x="1813" y="5772"/>
                  <a:pt x="1813" y="5910"/>
                </a:cubicBezTo>
                <a:lnTo>
                  <a:pt x="1813" y="6073"/>
                </a:lnTo>
                <a:cubicBezTo>
                  <a:pt x="1813" y="6129"/>
                  <a:pt x="1858" y="6173"/>
                  <a:pt x="1913" y="6173"/>
                </a:cubicBezTo>
                <a:lnTo>
                  <a:pt x="4260" y="6173"/>
                </a:lnTo>
                <a:cubicBezTo>
                  <a:pt x="4315" y="6173"/>
                  <a:pt x="4360" y="6129"/>
                  <a:pt x="4360" y="6073"/>
                </a:cubicBezTo>
                <a:lnTo>
                  <a:pt x="4360" y="5910"/>
                </a:lnTo>
                <a:cubicBezTo>
                  <a:pt x="4360" y="5772"/>
                  <a:pt x="4272" y="5652"/>
                  <a:pt x="4140" y="5611"/>
                </a:cubicBezTo>
                <a:lnTo>
                  <a:pt x="3507" y="5413"/>
                </a:lnTo>
                <a:lnTo>
                  <a:pt x="3507" y="3940"/>
                </a:lnTo>
                <a:cubicBezTo>
                  <a:pt x="3507" y="3862"/>
                  <a:pt x="3464" y="3795"/>
                  <a:pt x="3400" y="3759"/>
                </a:cubicBezTo>
                <a:lnTo>
                  <a:pt x="3400" y="1587"/>
                </a:lnTo>
                <a:lnTo>
                  <a:pt x="4907" y="1587"/>
                </a:lnTo>
                <a:lnTo>
                  <a:pt x="4907" y="1892"/>
                </a:lnTo>
                <a:lnTo>
                  <a:pt x="3849" y="4219"/>
                </a:lnTo>
                <a:cubicBezTo>
                  <a:pt x="3849" y="4219"/>
                  <a:pt x="3849" y="4219"/>
                  <a:pt x="3849" y="4220"/>
                </a:cubicBezTo>
                <a:cubicBezTo>
                  <a:pt x="3848" y="4222"/>
                  <a:pt x="3847" y="4224"/>
                  <a:pt x="3846" y="4226"/>
                </a:cubicBezTo>
                <a:cubicBezTo>
                  <a:pt x="3846" y="4227"/>
                  <a:pt x="3845" y="4228"/>
                  <a:pt x="3845" y="4229"/>
                </a:cubicBezTo>
                <a:cubicBezTo>
                  <a:pt x="3844" y="4231"/>
                  <a:pt x="3844" y="4233"/>
                  <a:pt x="3843" y="4234"/>
                </a:cubicBezTo>
                <a:cubicBezTo>
                  <a:pt x="3843" y="4236"/>
                  <a:pt x="3843" y="4237"/>
                  <a:pt x="3842" y="4239"/>
                </a:cubicBezTo>
                <a:cubicBezTo>
                  <a:pt x="3842" y="4240"/>
                  <a:pt x="3842" y="4242"/>
                  <a:pt x="3842" y="4243"/>
                </a:cubicBezTo>
                <a:cubicBezTo>
                  <a:pt x="3841" y="4245"/>
                  <a:pt x="3841" y="4247"/>
                  <a:pt x="3841" y="4249"/>
                </a:cubicBezTo>
                <a:cubicBezTo>
                  <a:pt x="3841" y="4250"/>
                  <a:pt x="3840" y="4251"/>
                  <a:pt x="3840" y="4252"/>
                </a:cubicBezTo>
                <a:cubicBezTo>
                  <a:pt x="3840" y="4255"/>
                  <a:pt x="3840" y="4257"/>
                  <a:pt x="3840" y="4259"/>
                </a:cubicBezTo>
                <a:cubicBezTo>
                  <a:pt x="3840" y="4259"/>
                  <a:pt x="3840" y="4260"/>
                  <a:pt x="3840" y="4260"/>
                </a:cubicBezTo>
                <a:cubicBezTo>
                  <a:pt x="3840" y="4261"/>
                  <a:pt x="3840" y="4263"/>
                  <a:pt x="3840" y="4264"/>
                </a:cubicBezTo>
                <a:cubicBezTo>
                  <a:pt x="3840" y="4265"/>
                  <a:pt x="3840" y="4266"/>
                  <a:pt x="3840" y="4268"/>
                </a:cubicBezTo>
                <a:cubicBezTo>
                  <a:pt x="3847" y="4679"/>
                  <a:pt x="4356" y="5000"/>
                  <a:pt x="5007" y="5000"/>
                </a:cubicBezTo>
                <a:cubicBezTo>
                  <a:pt x="5657" y="5000"/>
                  <a:pt x="6167" y="4679"/>
                  <a:pt x="6173" y="4268"/>
                </a:cubicBezTo>
                <a:cubicBezTo>
                  <a:pt x="6173" y="4266"/>
                  <a:pt x="6173" y="4265"/>
                  <a:pt x="6173" y="4264"/>
                </a:cubicBezTo>
                <a:close/>
                <a:moveTo>
                  <a:pt x="1167" y="2155"/>
                </a:moveTo>
                <a:lnTo>
                  <a:pt x="2078" y="4160"/>
                </a:lnTo>
                <a:lnTo>
                  <a:pt x="255" y="4160"/>
                </a:lnTo>
                <a:lnTo>
                  <a:pt x="1167" y="2155"/>
                </a:lnTo>
                <a:close/>
                <a:moveTo>
                  <a:pt x="1167" y="4800"/>
                </a:moveTo>
                <a:cubicBezTo>
                  <a:pt x="704" y="4800"/>
                  <a:pt x="304" y="4607"/>
                  <a:pt x="217" y="4360"/>
                </a:cubicBezTo>
                <a:lnTo>
                  <a:pt x="2116" y="4360"/>
                </a:lnTo>
                <a:cubicBezTo>
                  <a:pt x="2029" y="4607"/>
                  <a:pt x="1630" y="4800"/>
                  <a:pt x="1167" y="4800"/>
                </a:cubicBezTo>
                <a:close/>
                <a:moveTo>
                  <a:pt x="3307" y="3940"/>
                </a:moveTo>
                <a:lnTo>
                  <a:pt x="3307" y="5387"/>
                </a:lnTo>
                <a:lnTo>
                  <a:pt x="2867" y="5387"/>
                </a:lnTo>
                <a:lnTo>
                  <a:pt x="2867" y="3940"/>
                </a:lnTo>
                <a:cubicBezTo>
                  <a:pt x="2867" y="3936"/>
                  <a:pt x="2870" y="3933"/>
                  <a:pt x="2873" y="3933"/>
                </a:cubicBezTo>
                <a:lnTo>
                  <a:pt x="3300" y="3933"/>
                </a:lnTo>
                <a:cubicBezTo>
                  <a:pt x="3304" y="3933"/>
                  <a:pt x="3307" y="3936"/>
                  <a:pt x="3307" y="3940"/>
                </a:cubicBezTo>
                <a:close/>
                <a:moveTo>
                  <a:pt x="2973" y="3733"/>
                </a:moveTo>
                <a:lnTo>
                  <a:pt x="2973" y="824"/>
                </a:lnTo>
                <a:cubicBezTo>
                  <a:pt x="3009" y="834"/>
                  <a:pt x="3047" y="840"/>
                  <a:pt x="3087" y="840"/>
                </a:cubicBezTo>
                <a:cubicBezTo>
                  <a:pt x="3126" y="840"/>
                  <a:pt x="3164" y="834"/>
                  <a:pt x="3200" y="824"/>
                </a:cubicBezTo>
                <a:lnTo>
                  <a:pt x="3200" y="3733"/>
                </a:lnTo>
                <a:lnTo>
                  <a:pt x="2973" y="3733"/>
                </a:lnTo>
                <a:close/>
                <a:moveTo>
                  <a:pt x="3087" y="200"/>
                </a:moveTo>
                <a:cubicBezTo>
                  <a:pt x="3208" y="200"/>
                  <a:pt x="3307" y="299"/>
                  <a:pt x="3307" y="420"/>
                </a:cubicBezTo>
                <a:cubicBezTo>
                  <a:pt x="3307" y="541"/>
                  <a:pt x="3208" y="640"/>
                  <a:pt x="3087" y="640"/>
                </a:cubicBezTo>
                <a:cubicBezTo>
                  <a:pt x="2965" y="640"/>
                  <a:pt x="2867" y="541"/>
                  <a:pt x="2867" y="420"/>
                </a:cubicBezTo>
                <a:cubicBezTo>
                  <a:pt x="2867" y="299"/>
                  <a:pt x="2965" y="200"/>
                  <a:pt x="3087" y="200"/>
                </a:cubicBezTo>
                <a:close/>
                <a:moveTo>
                  <a:pt x="1060" y="1387"/>
                </a:moveTo>
                <a:cubicBezTo>
                  <a:pt x="1056" y="1387"/>
                  <a:pt x="1053" y="1384"/>
                  <a:pt x="1053" y="1380"/>
                </a:cubicBezTo>
                <a:lnTo>
                  <a:pt x="1053" y="1364"/>
                </a:lnTo>
                <a:cubicBezTo>
                  <a:pt x="1053" y="1360"/>
                  <a:pt x="1056" y="1358"/>
                  <a:pt x="1059" y="1357"/>
                </a:cubicBezTo>
                <a:lnTo>
                  <a:pt x="2773" y="1071"/>
                </a:lnTo>
                <a:lnTo>
                  <a:pt x="2773" y="1387"/>
                </a:lnTo>
                <a:lnTo>
                  <a:pt x="1060" y="1387"/>
                </a:lnTo>
                <a:close/>
                <a:moveTo>
                  <a:pt x="4160" y="5910"/>
                </a:moveTo>
                <a:lnTo>
                  <a:pt x="4160" y="5973"/>
                </a:lnTo>
                <a:lnTo>
                  <a:pt x="2013" y="5973"/>
                </a:lnTo>
                <a:lnTo>
                  <a:pt x="2013" y="5910"/>
                </a:lnTo>
                <a:cubicBezTo>
                  <a:pt x="2013" y="5860"/>
                  <a:pt x="2045" y="5817"/>
                  <a:pt x="2093" y="5802"/>
                </a:cubicBezTo>
                <a:lnTo>
                  <a:pt x="2782" y="5587"/>
                </a:lnTo>
                <a:lnTo>
                  <a:pt x="3391" y="5587"/>
                </a:lnTo>
                <a:lnTo>
                  <a:pt x="4080" y="5802"/>
                </a:lnTo>
                <a:cubicBezTo>
                  <a:pt x="4128" y="5817"/>
                  <a:pt x="4160" y="5860"/>
                  <a:pt x="4160" y="5910"/>
                </a:cubicBezTo>
                <a:close/>
                <a:moveTo>
                  <a:pt x="3400" y="1081"/>
                </a:moveTo>
                <a:lnTo>
                  <a:pt x="5114" y="1358"/>
                </a:lnTo>
                <a:cubicBezTo>
                  <a:pt x="5118" y="1358"/>
                  <a:pt x="5120" y="1361"/>
                  <a:pt x="5120" y="1364"/>
                </a:cubicBezTo>
                <a:lnTo>
                  <a:pt x="5120" y="1380"/>
                </a:lnTo>
                <a:cubicBezTo>
                  <a:pt x="5120" y="1384"/>
                  <a:pt x="5117" y="1387"/>
                  <a:pt x="5113" y="1387"/>
                </a:cubicBezTo>
                <a:lnTo>
                  <a:pt x="3400" y="1387"/>
                </a:lnTo>
                <a:lnTo>
                  <a:pt x="3400" y="1081"/>
                </a:lnTo>
                <a:close/>
                <a:moveTo>
                  <a:pt x="5007" y="2155"/>
                </a:moveTo>
                <a:lnTo>
                  <a:pt x="5918" y="4160"/>
                </a:lnTo>
                <a:lnTo>
                  <a:pt x="4095" y="4160"/>
                </a:lnTo>
                <a:lnTo>
                  <a:pt x="5007" y="2155"/>
                </a:lnTo>
                <a:close/>
                <a:moveTo>
                  <a:pt x="5007" y="4800"/>
                </a:moveTo>
                <a:cubicBezTo>
                  <a:pt x="4544" y="4800"/>
                  <a:pt x="4144" y="4607"/>
                  <a:pt x="4057" y="4360"/>
                </a:cubicBezTo>
                <a:lnTo>
                  <a:pt x="5956" y="4360"/>
                </a:lnTo>
                <a:cubicBezTo>
                  <a:pt x="5869" y="4607"/>
                  <a:pt x="5470" y="4800"/>
                  <a:pt x="5007" y="4800"/>
                </a:cubicBezTo>
                <a:close/>
              </a:path>
            </a:pathLst>
          </a:custGeom>
          <a:solidFill>
            <a:srgbClr val="2473BA"/>
          </a:solidFill>
          <a:ln w="19050">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sp>
        <p:nvSpPr>
          <p:cNvPr id="2" name="标题 1">
            <a:extLst>
              <a:ext uri="{FF2B5EF4-FFF2-40B4-BE49-F238E27FC236}">
                <a16:creationId xmlns:a16="http://schemas.microsoft.com/office/drawing/2014/main" id="{EC21CB2C-C098-A7CC-48A8-41E147318A05}"/>
              </a:ext>
            </a:extLst>
          </p:cNvPr>
          <p:cNvSpPr>
            <a:spLocks noGrp="1"/>
          </p:cNvSpPr>
          <p:nvPr>
            <p:ph type="title"/>
          </p:nvPr>
        </p:nvSpPr>
        <p:spPr/>
        <p:txBody>
          <a:bodyPr vert="horz">
            <a:normAutofit fontScale="90000"/>
          </a:bodyPr>
          <a:lstStyle/>
          <a:p>
            <a:r>
              <a:rPr lang="en-US" altLang="zh-CN" dirty="0"/>
              <a:t>03 </a:t>
            </a:r>
            <a:r>
              <a:rPr lang="zh-CN" altLang="en-US" dirty="0"/>
              <a:t>有效性：一线高效、获益风险比高、权威指南</a:t>
            </a:r>
            <a:r>
              <a:rPr lang="en-US" altLang="zh-CN" dirty="0"/>
              <a:t>/</a:t>
            </a:r>
            <a:r>
              <a:rPr lang="zh-CN" altLang="en-US" dirty="0"/>
              <a:t>共识推荐</a:t>
            </a:r>
          </a:p>
        </p:txBody>
      </p:sp>
      <p:sp>
        <p:nvSpPr>
          <p:cNvPr id="12" name="文本框 11">
            <a:extLst>
              <a:ext uri="{FF2B5EF4-FFF2-40B4-BE49-F238E27FC236}">
                <a16:creationId xmlns:a16="http://schemas.microsoft.com/office/drawing/2014/main" id="{16C6275F-B29E-3FE0-D24B-D6C456AC40F3}"/>
              </a:ext>
            </a:extLst>
          </p:cNvPr>
          <p:cNvSpPr txBox="1"/>
          <p:nvPr/>
        </p:nvSpPr>
        <p:spPr>
          <a:xfrm>
            <a:off x="320040" y="5739411"/>
            <a:ext cx="11871959" cy="523220"/>
          </a:xfrm>
          <a:prstGeom prst="rect">
            <a:avLst/>
          </a:prstGeom>
          <a:noFill/>
        </p:spPr>
        <p:txBody>
          <a:bodyPr wrap="square" rtlCol="0">
            <a:spAutoFit/>
          </a:bodyPr>
          <a:lstStyle/>
          <a:p>
            <a:r>
              <a:rPr lang="en-US" altLang="zh-CN" sz="700" dirty="0">
                <a:latin typeface="+mj-ea"/>
                <a:ea typeface="+mj-ea"/>
              </a:rPr>
              <a:t>17. </a:t>
            </a:r>
            <a:r>
              <a:rPr lang="en-US" altLang="zh-CN" sz="700" dirty="0" err="1">
                <a:latin typeface="+mj-ea"/>
                <a:ea typeface="+mj-ea"/>
              </a:rPr>
              <a:t>Viglietta</a:t>
            </a:r>
            <a:r>
              <a:rPr lang="en-US" altLang="zh-CN" sz="700" dirty="0">
                <a:latin typeface="+mj-ea"/>
                <a:ea typeface="+mj-ea"/>
              </a:rPr>
              <a:t>, V., et al .Ann Clin </a:t>
            </a:r>
            <a:r>
              <a:rPr lang="en-US" altLang="zh-CN" sz="700" dirty="0" err="1">
                <a:latin typeface="+mj-ea"/>
                <a:ea typeface="+mj-ea"/>
              </a:rPr>
              <a:t>Transl</a:t>
            </a:r>
            <a:r>
              <a:rPr lang="en-US" altLang="zh-CN" sz="700" dirty="0">
                <a:latin typeface="+mj-ea"/>
                <a:ea typeface="+mj-ea"/>
              </a:rPr>
              <a:t> Neurol, 2015. 2(2): p. 103-18.   18. Gold R, et al. </a:t>
            </a:r>
            <a:r>
              <a:rPr lang="en-US" altLang="zh-CN" sz="700" dirty="0" err="1">
                <a:latin typeface="+mj-ea"/>
                <a:ea typeface="+mj-ea"/>
              </a:rPr>
              <a:t>Mult</a:t>
            </a:r>
            <a:r>
              <a:rPr lang="en-US" altLang="zh-CN" sz="700" dirty="0">
                <a:latin typeface="+mj-ea"/>
                <a:ea typeface="+mj-ea"/>
              </a:rPr>
              <a:t> </a:t>
            </a:r>
            <a:r>
              <a:rPr lang="en-US" altLang="zh-CN" sz="700" dirty="0" err="1">
                <a:latin typeface="+mj-ea"/>
                <a:ea typeface="+mj-ea"/>
              </a:rPr>
              <a:t>Scler</a:t>
            </a:r>
            <a:r>
              <a:rPr lang="en-US" altLang="zh-CN" sz="700" dirty="0">
                <a:latin typeface="+mj-ea"/>
                <a:ea typeface="+mj-ea"/>
              </a:rPr>
              <a:t>. 2015;21(1)57-66</a:t>
            </a:r>
            <a:r>
              <a:rPr lang="zh-CN" altLang="en-US" sz="700" dirty="0">
                <a:latin typeface="+mj-ea"/>
                <a:ea typeface="+mj-ea"/>
              </a:rPr>
              <a:t>；   </a:t>
            </a:r>
            <a:r>
              <a:rPr lang="en-US" altLang="zh-CN" sz="700" dirty="0">
                <a:latin typeface="+mj-ea"/>
                <a:ea typeface="+mj-ea"/>
              </a:rPr>
              <a:t>19.Gold, R, et al, Multiple Sclerosis Journal, 2021: p. 13524585211037909   20. Saida T, Yamamura T, Kondo T, et al. BMC Neurol, 2019, 19(1): 5 (APEX)   21. Berger T et al. </a:t>
            </a:r>
            <a:r>
              <a:rPr lang="en-US" altLang="zh-CN" sz="700" dirty="0" err="1">
                <a:latin typeface="+mj-ea"/>
                <a:ea typeface="+mj-ea"/>
              </a:rPr>
              <a:t>MultSclerJ</a:t>
            </a:r>
            <a:r>
              <a:rPr lang="en-US" altLang="zh-CN" sz="700" dirty="0">
                <a:latin typeface="+mj-ea"/>
                <a:ea typeface="+mj-ea"/>
              </a:rPr>
              <a:t> Exp </a:t>
            </a:r>
            <a:r>
              <a:rPr lang="en-US" altLang="zh-CN" sz="700" dirty="0" err="1">
                <a:latin typeface="+mj-ea"/>
                <a:ea typeface="+mj-ea"/>
              </a:rPr>
              <a:t>TranslClin</a:t>
            </a:r>
            <a:r>
              <a:rPr lang="en-US" altLang="zh-CN" sz="700" dirty="0">
                <a:latin typeface="+mj-ea"/>
                <a:ea typeface="+mj-ea"/>
              </a:rPr>
              <a:t>, 2019, 5(4): 2055217319887191    22. Cutter G, et </a:t>
            </a:r>
            <a:r>
              <a:rPr lang="en-US" altLang="zh-CN" sz="700" dirty="0" err="1">
                <a:latin typeface="+mj-ea"/>
                <a:ea typeface="+mj-ea"/>
              </a:rPr>
              <a:t>al.ECTRIMS</a:t>
            </a:r>
            <a:r>
              <a:rPr lang="en-US" altLang="zh-CN" sz="700" dirty="0">
                <a:latin typeface="+mj-ea"/>
                <a:ea typeface="+mj-ea"/>
              </a:rPr>
              <a:t> 09/13/19; 278594, p. P1394   23. </a:t>
            </a:r>
            <a:r>
              <a:rPr lang="en-US" altLang="zh-CN" sz="700" dirty="0" err="1">
                <a:latin typeface="+mj-ea"/>
                <a:ea typeface="+mj-ea"/>
              </a:rPr>
              <a:t>Braune</a:t>
            </a:r>
            <a:r>
              <a:rPr lang="en-US" altLang="zh-CN" sz="700" dirty="0">
                <a:latin typeface="+mj-ea"/>
                <a:ea typeface="+mj-ea"/>
              </a:rPr>
              <a:t> S et al. J Neurol. 2018 Dec;265(12):2980-2992   24. Giles K, et al. ANN-2022 P3.4-005    25. </a:t>
            </a:r>
            <a:r>
              <a:rPr lang="en-US" altLang="zh-CN" sz="700" dirty="0" err="1">
                <a:latin typeface="+mj-ea"/>
                <a:ea typeface="+mj-ea"/>
              </a:rPr>
              <a:t>Kufukihara</a:t>
            </a:r>
            <a:r>
              <a:rPr lang="en-US" altLang="zh-CN" sz="700" dirty="0">
                <a:latin typeface="+mj-ea"/>
                <a:ea typeface="+mj-ea"/>
              </a:rPr>
              <a:t> K et al. Presented at 37th ECTRIMS Congress; October 13-15, 2021. P457    26. 1). </a:t>
            </a:r>
            <a:r>
              <a:rPr lang="en-US" altLang="zh-CN" sz="700" dirty="0" err="1">
                <a:latin typeface="+mj-ea"/>
                <a:ea typeface="+mj-ea"/>
              </a:rPr>
              <a:t>Torkildsen</a:t>
            </a:r>
            <a:r>
              <a:rPr lang="en-US" altLang="zh-CN" sz="700" dirty="0">
                <a:latin typeface="+mj-ea"/>
                <a:ea typeface="+mj-ea"/>
              </a:rPr>
              <a:t> Ø, et al. </a:t>
            </a:r>
            <a:r>
              <a:rPr lang="en-US" altLang="zh-CN" sz="700" dirty="0" err="1">
                <a:latin typeface="+mj-ea"/>
                <a:ea typeface="+mj-ea"/>
              </a:rPr>
              <a:t>Eur</a:t>
            </a:r>
            <a:r>
              <a:rPr lang="en-US" altLang="zh-CN" sz="700" dirty="0">
                <a:latin typeface="+mj-ea"/>
                <a:ea typeface="+mj-ea"/>
              </a:rPr>
              <a:t> </a:t>
            </a:r>
            <a:r>
              <a:rPr lang="en-US" altLang="zh-CN" sz="700" dirty="0" err="1">
                <a:latin typeface="+mj-ea"/>
                <a:ea typeface="+mj-ea"/>
              </a:rPr>
              <a:t>JNeurol</a:t>
            </a:r>
            <a:r>
              <a:rPr lang="en-US" altLang="zh-CN" sz="700" dirty="0">
                <a:latin typeface="+mj-ea"/>
                <a:ea typeface="+mj-ea"/>
              </a:rPr>
              <a:t>. 2016 Jan;23 Suppl 1(Suppl 1):18-27.; 2). </a:t>
            </a:r>
            <a:r>
              <a:rPr lang="en-US" altLang="zh-CN" sz="700" dirty="0" err="1">
                <a:latin typeface="+mj-ea"/>
                <a:ea typeface="+mj-ea"/>
              </a:rPr>
              <a:t>Comi</a:t>
            </a:r>
            <a:r>
              <a:rPr lang="en-US" altLang="zh-CN" sz="700" dirty="0">
                <a:latin typeface="+mj-ea"/>
                <a:ea typeface="+mj-ea"/>
              </a:rPr>
              <a:t> G, et al. Lancet. 2017Apr 1;389(10076):1347-1356.; 3). 2019</a:t>
            </a:r>
            <a:r>
              <a:rPr lang="zh-CN" altLang="en-US" sz="700" dirty="0">
                <a:latin typeface="+mj-ea"/>
                <a:ea typeface="+mj-ea"/>
              </a:rPr>
              <a:t>英国</a:t>
            </a:r>
            <a:r>
              <a:rPr lang="en-US" altLang="zh-CN" sz="700" dirty="0">
                <a:latin typeface="+mj-ea"/>
                <a:ea typeface="+mj-ea"/>
              </a:rPr>
              <a:t>NHS. </a:t>
            </a:r>
            <a:r>
              <a:rPr lang="en-US" altLang="zh-CN" sz="700" dirty="0" err="1">
                <a:latin typeface="+mj-ea"/>
                <a:ea typeface="+mj-ea"/>
              </a:rPr>
              <a:t>TreatmentAlgorithm</a:t>
            </a:r>
            <a:r>
              <a:rPr lang="en-US" altLang="zh-CN" sz="700" dirty="0">
                <a:latin typeface="+mj-ea"/>
                <a:ea typeface="+mj-ea"/>
              </a:rPr>
              <a:t> for Multiple Sclerosis Disease-Modifying Therapies.;4). </a:t>
            </a:r>
            <a:r>
              <a:rPr lang="en-US" altLang="zh-CN" sz="700" dirty="0" err="1">
                <a:latin typeface="+mj-ea"/>
                <a:ea typeface="+mj-ea"/>
              </a:rPr>
              <a:t>Yamout</a:t>
            </a:r>
            <a:r>
              <a:rPr lang="en-US" altLang="zh-CN" sz="700" dirty="0">
                <a:latin typeface="+mj-ea"/>
                <a:ea typeface="+mj-ea"/>
              </a:rPr>
              <a:t> B, et al. </a:t>
            </a:r>
            <a:r>
              <a:rPr lang="en-US" altLang="zh-CN" sz="700" dirty="0" err="1">
                <a:latin typeface="+mj-ea"/>
                <a:ea typeface="+mj-ea"/>
              </a:rPr>
              <a:t>Mult</a:t>
            </a:r>
            <a:r>
              <a:rPr lang="en-US" altLang="zh-CN" sz="700" dirty="0">
                <a:latin typeface="+mj-ea"/>
                <a:ea typeface="+mj-ea"/>
              </a:rPr>
              <a:t> </a:t>
            </a:r>
            <a:r>
              <a:rPr lang="en-US" altLang="zh-CN" sz="700" dirty="0" err="1">
                <a:latin typeface="+mj-ea"/>
                <a:ea typeface="+mj-ea"/>
              </a:rPr>
              <a:t>SclerRelat</a:t>
            </a:r>
            <a:r>
              <a:rPr lang="en-US" altLang="zh-CN" sz="700" dirty="0">
                <a:latin typeface="+mj-ea"/>
                <a:ea typeface="+mj-ea"/>
              </a:rPr>
              <a:t> </a:t>
            </a:r>
            <a:r>
              <a:rPr lang="en-US" altLang="zh-CN" sz="700" dirty="0" err="1">
                <a:latin typeface="+mj-ea"/>
                <a:ea typeface="+mj-ea"/>
              </a:rPr>
              <a:t>Disord</a:t>
            </a:r>
            <a:r>
              <a:rPr lang="en-US" altLang="zh-CN" sz="700" dirty="0">
                <a:latin typeface="+mj-ea"/>
                <a:ea typeface="+mj-ea"/>
              </a:rPr>
              <a:t>. 2020 Jan;37:101459.; 5). </a:t>
            </a:r>
            <a:r>
              <a:rPr lang="zh-CN" altLang="en-US" sz="700" dirty="0">
                <a:latin typeface="+mj-ea"/>
                <a:ea typeface="+mj-ea"/>
              </a:rPr>
              <a:t>陈涓涓</a:t>
            </a:r>
            <a:r>
              <a:rPr lang="en-US" altLang="zh-CN" sz="700" dirty="0">
                <a:latin typeface="+mj-ea"/>
                <a:ea typeface="+mj-ea"/>
              </a:rPr>
              <a:t>,</a:t>
            </a:r>
            <a:r>
              <a:rPr lang="zh-CN" altLang="en-US" sz="700" dirty="0">
                <a:latin typeface="+mj-ea"/>
                <a:ea typeface="+mj-ea"/>
              </a:rPr>
              <a:t>等</a:t>
            </a:r>
            <a:r>
              <a:rPr lang="en-US" altLang="zh-CN" sz="700" dirty="0">
                <a:latin typeface="+mj-ea"/>
                <a:ea typeface="+mj-ea"/>
              </a:rPr>
              <a:t>. </a:t>
            </a:r>
            <a:r>
              <a:rPr lang="zh-CN" altLang="en-US" sz="700" dirty="0">
                <a:latin typeface="+mj-ea"/>
                <a:ea typeface="+mj-ea"/>
              </a:rPr>
              <a:t>中国神经免疫学和神经病学杂志</a:t>
            </a:r>
            <a:r>
              <a:rPr lang="en-US" altLang="zh-CN" sz="700" dirty="0">
                <a:latin typeface="+mj-ea"/>
                <a:ea typeface="+mj-ea"/>
              </a:rPr>
              <a:t>. 2020;27(3):222-230.;</a:t>
            </a:r>
            <a:r>
              <a:rPr lang="zh-CN" altLang="en-US" sz="700" dirty="0">
                <a:latin typeface="+mj-ea"/>
                <a:ea typeface="+mj-ea"/>
              </a:rPr>
              <a:t>　</a:t>
            </a:r>
            <a:endParaRPr lang="en-US" altLang="zh-CN" sz="700" dirty="0">
              <a:latin typeface="+mj-ea"/>
              <a:ea typeface="+mj-ea"/>
            </a:endParaRPr>
          </a:p>
        </p:txBody>
      </p:sp>
      <p:sp>
        <p:nvSpPr>
          <p:cNvPr id="16" name="文本框 15">
            <a:extLst>
              <a:ext uri="{FF2B5EF4-FFF2-40B4-BE49-F238E27FC236}">
                <a16:creationId xmlns:a16="http://schemas.microsoft.com/office/drawing/2014/main" id="{E153F637-07F1-3C26-316E-65D3438F853F}"/>
              </a:ext>
            </a:extLst>
          </p:cNvPr>
          <p:cNvSpPr txBox="1"/>
          <p:nvPr/>
        </p:nvSpPr>
        <p:spPr>
          <a:xfrm>
            <a:off x="499642" y="2746419"/>
            <a:ext cx="11442421" cy="1802738"/>
          </a:xfrm>
          <a:prstGeom prst="rect">
            <a:avLst/>
          </a:prstGeom>
          <a:noFill/>
        </p:spPr>
        <p:txBody>
          <a:bodyPr wrap="square">
            <a:spAutoFit/>
          </a:bodyPr>
          <a:lstStyle/>
          <a:p>
            <a:pPr marL="180000" indent="-180000" defTabSz="913765">
              <a:lnSpc>
                <a:spcPct val="120000"/>
              </a:lnSpc>
              <a:buFont typeface="Arial" panose="020B0604020202020204" pitchFamily="34" charset="0"/>
              <a:buChar char="•"/>
              <a:defRP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上市后四期研究数据显示：</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对比开始本品治疗前一年，本品治疗一年</a:t>
            </a:r>
            <a:r>
              <a:rPr lang="zh-CN" altLang="en-US" sz="1400" dirty="0">
                <a:solidFill>
                  <a:srgbClr val="2473BA"/>
                </a:solidFill>
                <a:latin typeface="Arial" panose="020B0604020202020204" pitchFamily="34" charset="0"/>
                <a:ea typeface="微软雅黑" panose="020B0503020204020204" pitchFamily="34" charset="-122"/>
              </a:rPr>
              <a:t>后年</a:t>
            </a:r>
            <a:r>
              <a:rPr kumimoji="0" lang="zh-CN" altLang="en-US"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复发率显著降低</a:t>
            </a:r>
            <a:r>
              <a:rPr kumimoji="0" lang="en-US" altLang="zh-CN" sz="1400" i="0" u="none" strike="noStrike" kern="120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mn-cs"/>
              </a:rPr>
              <a:t>75%</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21 </a:t>
            </a:r>
          </a:p>
          <a:p>
            <a:pPr marL="180000" indent="-180000" defTabSz="913765">
              <a:lnSpc>
                <a:spcPct val="120000"/>
              </a:lnSpc>
              <a:buFont typeface="Arial" panose="020B0604020202020204" pitchFamily="34" charset="0"/>
              <a:buChar char="•"/>
              <a:defRPr/>
            </a:pPr>
            <a:r>
              <a:rPr lang="zh-CN" altLang="en-US" sz="1600" b="1" dirty="0">
                <a:solidFill>
                  <a:srgbClr val="2473BA"/>
                </a:solidFill>
                <a:latin typeface="Arial" panose="020B0604020202020204" pitchFamily="34" charset="0"/>
                <a:ea typeface="微软雅黑" panose="020B0503020204020204" pitchFamily="34" charset="-122"/>
              </a:rPr>
              <a:t>真实世界数据</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1</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网络荟萃分析结果显示，本品疗效显著优于特立氟胺、与芬戈莫德相当</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22</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一项德国登记研究数据显示，富马酸二甲酯治疗患者在第一次发作时间和年复发率指标上显著优于特立氟胺，与芬戈莫德无统计学差异</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23</a:t>
            </a:r>
          </a:p>
          <a:p>
            <a:pPr marL="180000" indent="-180000" defTabSz="913765">
              <a:lnSpc>
                <a:spcPct val="120000"/>
              </a:lnSpc>
              <a:buFont typeface="Arial" panose="020B0604020202020204" pitchFamily="34" charset="0"/>
              <a:buChar char="•"/>
              <a:defRPr/>
            </a:pPr>
            <a:r>
              <a:rPr lang="zh-CN" altLang="en-US" sz="1600" b="1" dirty="0">
                <a:solidFill>
                  <a:srgbClr val="2473BA"/>
                </a:solidFill>
                <a:latin typeface="Arial" panose="020B0604020202020204" pitchFamily="34" charset="0"/>
                <a:ea typeface="微软雅黑" panose="020B0503020204020204" pitchFamily="34" charset="-122"/>
              </a:rPr>
              <a:t>换药有效性</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相比换药前使用特立氟胺治疗的</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12</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个月，换药后使用本品的</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12</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个月内，患者年复发率降低约</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80%</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无论是否因疗效原因换药）</a:t>
            </a:r>
            <a:r>
              <a:rPr lang="en-US" altLang="zh-CN" sz="1400" baseline="30000" dirty="0">
                <a:solidFill>
                  <a:srgbClr val="2473BA"/>
                </a:solidFill>
                <a:latin typeface="Arial" panose="020B0604020202020204" pitchFamily="34" charset="0"/>
                <a:ea typeface="微软雅黑" panose="020B0503020204020204" pitchFamily="34" charset="-122"/>
              </a:rPr>
              <a:t>24</a:t>
            </a:r>
            <a:endPar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180000" indent="-180000" defTabSz="913765">
              <a:lnSpc>
                <a:spcPct val="120000"/>
              </a:lnSpc>
              <a:buFont typeface="Arial" panose="020B0604020202020204" pitchFamily="34" charset="0"/>
              <a:buChar char="•"/>
              <a:defRPr/>
            </a:pPr>
            <a:r>
              <a:rPr lang="zh-CN" altLang="en-US" sz="1600" b="1" dirty="0">
                <a:solidFill>
                  <a:srgbClr val="2473BA"/>
                </a:solidFill>
                <a:latin typeface="Arial" panose="020B0604020202020204" pitchFamily="34" charset="0"/>
                <a:ea typeface="微软雅黑" panose="020B0503020204020204" pitchFamily="34" charset="-122"/>
              </a:rPr>
              <a:t>影像学证据</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45%</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的患者可观察到髓鞘再生（多发性硬化为脱髓鞘疾病）</a:t>
            </a:r>
            <a:r>
              <a:rPr lang="en-US" altLang="zh-CN" sz="1400" baseline="30000" dirty="0">
                <a:solidFill>
                  <a:srgbClr val="2473BA"/>
                </a:solidFill>
                <a:latin typeface="Arial" panose="020B0604020202020204" pitchFamily="34" charset="0"/>
                <a:ea typeface="微软雅黑" panose="020B0503020204020204" pitchFamily="34" charset="-122"/>
              </a:rPr>
              <a:t>25</a:t>
            </a:r>
            <a:endPar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180000" indent="-180000" defTabSz="913765">
              <a:lnSpc>
                <a:spcPct val="120000"/>
              </a:lnSpc>
              <a:buFont typeface="Arial" panose="020B0604020202020204" pitchFamily="34" charset="0"/>
              <a:buChar char="•"/>
              <a:defRPr/>
            </a:pPr>
            <a:r>
              <a:rPr lang="zh-CN" altLang="en-US" sz="1600" b="1" dirty="0">
                <a:solidFill>
                  <a:srgbClr val="2473BA"/>
                </a:solidFill>
                <a:latin typeface="Arial" panose="020B0604020202020204" pitchFamily="34" charset="0"/>
                <a:ea typeface="微软雅黑" panose="020B0503020204020204" pitchFamily="34" charset="-122"/>
              </a:rPr>
              <a:t>权威指南</a:t>
            </a:r>
            <a:r>
              <a:rPr lang="en-US" altLang="zh-CN" sz="1600" b="1" dirty="0">
                <a:solidFill>
                  <a:srgbClr val="2473BA"/>
                </a:solidFill>
                <a:latin typeface="Arial" panose="020B0604020202020204" pitchFamily="34" charset="0"/>
                <a:ea typeface="微软雅黑" panose="020B0503020204020204" pitchFamily="34" charset="-122"/>
              </a:rPr>
              <a:t>/</a:t>
            </a:r>
            <a:r>
              <a:rPr lang="zh-CN" altLang="en-US" sz="1600" b="1" dirty="0">
                <a:solidFill>
                  <a:srgbClr val="2473BA"/>
                </a:solidFill>
                <a:latin typeface="Arial" panose="020B0604020202020204" pitchFamily="34" charset="0"/>
                <a:ea typeface="微软雅黑" panose="020B0503020204020204" pitchFamily="34" charset="-122"/>
              </a:rPr>
              <a:t>共识的推荐与认可</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中国、英国、欧洲、加拿大等指南</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共识</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权威杂志综述，均推荐</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一线推荐本品用于</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RR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患者治疗</a:t>
            </a:r>
            <a:r>
              <a:rPr kumimoji="0" lang="en-US" altLang="zh-CN" sz="140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26</a:t>
            </a:r>
          </a:p>
        </p:txBody>
      </p:sp>
      <p:sp>
        <p:nvSpPr>
          <p:cNvPr id="18" name="文本框 17">
            <a:extLst>
              <a:ext uri="{FF2B5EF4-FFF2-40B4-BE49-F238E27FC236}">
                <a16:creationId xmlns:a16="http://schemas.microsoft.com/office/drawing/2014/main" id="{30E68C7D-0A16-CE38-B707-79D2777F5F59}"/>
              </a:ext>
            </a:extLst>
          </p:cNvPr>
          <p:cNvSpPr txBox="1"/>
          <p:nvPr/>
        </p:nvSpPr>
        <p:spPr>
          <a:xfrm>
            <a:off x="499643" y="4754511"/>
            <a:ext cx="11120842" cy="882549"/>
          </a:xfrm>
          <a:prstGeom prst="rect">
            <a:avLst/>
          </a:prstGeom>
          <a:noFill/>
        </p:spPr>
        <p:txBody>
          <a:bodyPr wrap="square">
            <a:spAutoFit/>
          </a:bodyPr>
          <a:lstStyle/>
          <a:p>
            <a:pPr marL="180000" indent="-180000" defTabSz="913765">
              <a:lnSpc>
                <a:spcPct val="120000"/>
              </a:lnSpc>
              <a:buFont typeface="Arial" panose="020B0604020202020204" pitchFamily="34" charset="0"/>
              <a:buChar char="•"/>
              <a:defRPr/>
            </a:pP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CDE《</a:t>
            </a: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技术审评报告</a:t>
            </a:r>
            <a:r>
              <a:rPr kumimoji="0" lang="en-US" altLang="zh-CN"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本品在境外进行了系统的临床研究。本品用于适应症</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开发，共进行</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33</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项研究，包括</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PK</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有效性、安全性和药物</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药物相互作用研究：关键性</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3</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期研究表明本品在全球受试者中的获益作用在治疗</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4</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周后出现，并在长达</a:t>
            </a:r>
            <a:r>
              <a:rPr kumimoji="0" lang="en-US" altLang="zh-CN"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7</a:t>
            </a:r>
            <a:r>
              <a:rPr kumimoji="0" lang="zh-CN" altLang="en-US" sz="140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年连续给药的扩展研究中证实且入组东亚患者亚群的结果与总体研究人群一致</a:t>
            </a:r>
          </a:p>
        </p:txBody>
      </p:sp>
      <p:sp>
        <p:nvSpPr>
          <p:cNvPr id="17" name="矩形 16">
            <a:extLst>
              <a:ext uri="{FF2B5EF4-FFF2-40B4-BE49-F238E27FC236}">
                <a16:creationId xmlns:a16="http://schemas.microsoft.com/office/drawing/2014/main" id="{29998FB3-7A29-DD11-CFB6-5B7F686DCC0C}"/>
              </a:ext>
            </a:extLst>
          </p:cNvPr>
          <p:cNvSpPr/>
          <p:nvPr/>
        </p:nvSpPr>
        <p:spPr>
          <a:xfrm>
            <a:off x="396082" y="1593659"/>
            <a:ext cx="45719" cy="973651"/>
          </a:xfrm>
          <a:prstGeom prst="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a:extLst>
              <a:ext uri="{FF2B5EF4-FFF2-40B4-BE49-F238E27FC236}">
                <a16:creationId xmlns:a16="http://schemas.microsoft.com/office/drawing/2014/main" id="{450794D9-9E3E-6DAC-DE55-D7EBE7A907FC}"/>
              </a:ext>
            </a:extLst>
          </p:cNvPr>
          <p:cNvSpPr/>
          <p:nvPr/>
        </p:nvSpPr>
        <p:spPr>
          <a:xfrm>
            <a:off x="396082" y="2734450"/>
            <a:ext cx="45719" cy="1826676"/>
          </a:xfrm>
          <a:prstGeom prst="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a:extLst>
              <a:ext uri="{FF2B5EF4-FFF2-40B4-BE49-F238E27FC236}">
                <a16:creationId xmlns:a16="http://schemas.microsoft.com/office/drawing/2014/main" id="{E2526D8B-B579-39D7-4E25-C6123AE05A0A}"/>
              </a:ext>
            </a:extLst>
          </p:cNvPr>
          <p:cNvSpPr/>
          <p:nvPr/>
        </p:nvSpPr>
        <p:spPr>
          <a:xfrm>
            <a:off x="396082" y="4688940"/>
            <a:ext cx="45719" cy="1013690"/>
          </a:xfrm>
          <a:prstGeom prst="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6135178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圆角 43">
            <a:extLst>
              <a:ext uri="{FF2B5EF4-FFF2-40B4-BE49-F238E27FC236}">
                <a16:creationId xmlns:a16="http://schemas.microsoft.com/office/drawing/2014/main" id="{3FFCCD7E-EA48-0E67-9518-FABD8740D13C}"/>
              </a:ext>
            </a:extLst>
          </p:cNvPr>
          <p:cNvSpPr/>
          <p:nvPr/>
        </p:nvSpPr>
        <p:spPr>
          <a:xfrm>
            <a:off x="459864" y="2568634"/>
            <a:ext cx="10932035" cy="2468978"/>
          </a:xfrm>
          <a:prstGeom prst="roundRect">
            <a:avLst>
              <a:gd name="adj" fmla="val 9431"/>
            </a:avLst>
          </a:prstGeom>
          <a:gradFill flip="none" rotWithShape="1">
            <a:gsLst>
              <a:gs pos="0">
                <a:srgbClr val="FFFFFF"/>
              </a:gs>
              <a:gs pos="97000">
                <a:srgbClr val="EEF5FC"/>
              </a:gs>
            </a:gsLst>
            <a:path path="circle">
              <a:fillToRect l="50000" t="50000" r="50000" b="50000"/>
            </a:path>
            <a:tileRect/>
          </a:gradFill>
          <a:ln w="3175">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矩形: 圆角 32">
            <a:extLst>
              <a:ext uri="{FF2B5EF4-FFF2-40B4-BE49-F238E27FC236}">
                <a16:creationId xmlns:a16="http://schemas.microsoft.com/office/drawing/2014/main" id="{C29FA5F6-E2F4-A7A0-BC6B-5193F688641A}"/>
              </a:ext>
            </a:extLst>
          </p:cNvPr>
          <p:cNvSpPr/>
          <p:nvPr/>
        </p:nvSpPr>
        <p:spPr>
          <a:xfrm>
            <a:off x="459864" y="1277495"/>
            <a:ext cx="11272271" cy="1180455"/>
          </a:xfrm>
          <a:prstGeom prst="roundRect">
            <a:avLst>
              <a:gd name="adj" fmla="val 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1"/>
            </p:custDataLst>
            <p:extLst>
              <p:ext uri="{D42A27DB-BD31-4B8C-83A1-F6EECF244321}">
                <p14:modId xmlns:p14="http://schemas.microsoft.com/office/powerpoint/2010/main" val="3360472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文本占位符 3">
            <a:extLst>
              <a:ext uri="{FF2B5EF4-FFF2-40B4-BE49-F238E27FC236}">
                <a16:creationId xmlns:a16="http://schemas.microsoft.com/office/drawing/2014/main" id="{548CE366-58DF-4FD3-8C05-D704F49433D9}"/>
              </a:ext>
            </a:extLst>
          </p:cNvPr>
          <p:cNvSpPr txBox="1">
            <a:spLocks/>
          </p:cNvSpPr>
          <p:nvPr/>
        </p:nvSpPr>
        <p:spPr>
          <a:xfrm>
            <a:off x="371056" y="846493"/>
            <a:ext cx="11505292" cy="383016"/>
          </a:xfrm>
          <a:prstGeom prst="rect">
            <a:avLst/>
          </a:prstGeom>
        </p:spPr>
        <p:txBody>
          <a:bodyPr>
            <a:normAutofit/>
          </a:bodyPr>
          <a:lstStyle>
            <a:lvl1pPr marL="0" indent="0" algn="l" defTabSz="1219170" rtl="0" eaLnBrk="1" latinLnBrk="0" hangingPunct="1">
              <a:spcBef>
                <a:spcPts val="1600"/>
              </a:spcBef>
              <a:spcAft>
                <a:spcPts val="0"/>
              </a:spcAft>
              <a:buFontTx/>
              <a:buNone/>
              <a:defRPr sz="1867" b="1" i="0" kern="1200" baseline="0">
                <a:solidFill>
                  <a:srgbClr val="82286E"/>
                </a:solidFill>
                <a:latin typeface="Arial" pitchFamily="34" charset="0"/>
                <a:ea typeface="+mn-ea"/>
                <a:cs typeface="Arial" pitchFamily="34" charset="0"/>
              </a:defRPr>
            </a:lvl1pPr>
            <a:lvl2pPr marL="357708" indent="-192613" algn="l" defTabSz="1219170" rtl="0" eaLnBrk="1" latinLnBrk="0" hangingPunct="1">
              <a:spcBef>
                <a:spcPts val="533"/>
              </a:spcBef>
              <a:spcAft>
                <a:spcPts val="0"/>
              </a:spcAft>
              <a:buClr>
                <a:srgbClr val="782A6B"/>
              </a:buClr>
              <a:buSzPct val="100000"/>
              <a:buFont typeface="Arial" panose="020B0604020202020204" pitchFamily="34" charset="0"/>
              <a:buChar char="–"/>
              <a:tabLst/>
              <a:defRPr sz="1600" kern="1200">
                <a:solidFill>
                  <a:srgbClr val="5D6971"/>
                </a:solidFill>
                <a:latin typeface="Arial" pitchFamily="34" charset="0"/>
                <a:ea typeface="+mn-ea"/>
                <a:cs typeface="Arial" pitchFamily="34" charset="0"/>
              </a:defRPr>
            </a:lvl2pPr>
            <a:lvl3pPr marL="556670" indent="-158747" algn="l" defTabSz="1219170" rtl="0" eaLnBrk="1" latinLnBrk="0" hangingPunct="1">
              <a:spcBef>
                <a:spcPts val="533"/>
              </a:spcBef>
              <a:spcAft>
                <a:spcPts val="0"/>
              </a:spcAft>
              <a:buClr>
                <a:srgbClr val="782A6B"/>
              </a:buClr>
              <a:buFont typeface="Arial" panose="020B0604020202020204" pitchFamily="34" charset="0"/>
              <a:buChar char="•"/>
              <a:defRPr sz="1600" kern="1200">
                <a:solidFill>
                  <a:srgbClr val="5D6971"/>
                </a:solidFill>
                <a:latin typeface="Arial" pitchFamily="34" charset="0"/>
                <a:ea typeface="+mn-ea"/>
                <a:cs typeface="Arial" pitchFamily="34" charset="0"/>
              </a:defRPr>
            </a:lvl3pPr>
            <a:lvl4pPr marL="791614" indent="-182029" algn="l" defTabSz="1219170" rtl="0" eaLnBrk="1" latinLnBrk="0" hangingPunct="1">
              <a:spcBef>
                <a:spcPts val="533"/>
              </a:spcBef>
              <a:spcAft>
                <a:spcPts val="0"/>
              </a:spcAft>
              <a:buClr>
                <a:srgbClr val="77BD1F"/>
              </a:buClr>
              <a:buSzPct val="100000"/>
              <a:buFont typeface="Arial" panose="020B0604020202020204" pitchFamily="34" charset="0"/>
              <a:buChar char="–"/>
              <a:defRPr sz="1467" kern="1200">
                <a:solidFill>
                  <a:srgbClr val="5D6971"/>
                </a:solidFill>
                <a:latin typeface="Arial" pitchFamily="34" charset="0"/>
                <a:ea typeface="+mn-ea"/>
                <a:cs typeface="Arial" pitchFamily="34" charset="0"/>
              </a:defRPr>
            </a:lvl4pPr>
            <a:lvl5pPr marL="927077" indent="-131230" algn="l" defTabSz="1219170" rtl="0" eaLnBrk="1" latinLnBrk="0" hangingPunct="1">
              <a:spcBef>
                <a:spcPts val="533"/>
              </a:spcBef>
              <a:spcAft>
                <a:spcPts val="0"/>
              </a:spcAft>
              <a:buClr>
                <a:srgbClr val="77BD1F"/>
              </a:buClr>
              <a:buFont typeface="Arial" panose="020B0604020202020204" pitchFamily="34" charset="0"/>
              <a:buChar char="•"/>
              <a:defRPr sz="1467" kern="1200">
                <a:solidFill>
                  <a:srgbClr val="5D6971"/>
                </a:solidFill>
                <a:latin typeface="Arial" pitchFamily="34" charset="0"/>
                <a:ea typeface="+mn-ea"/>
                <a:cs typeface="Arial" pitchFamily="34" charset="0"/>
              </a:defRPr>
            </a:lvl5pPr>
            <a:lvl6pPr marL="1445648" indent="-226478" algn="l" defTabSz="1219170" rtl="0" eaLnBrk="1" latinLnBrk="0" hangingPunct="1">
              <a:spcBef>
                <a:spcPts val="533"/>
              </a:spcBef>
              <a:spcAft>
                <a:spcPts val="0"/>
              </a:spcAft>
              <a:buClr>
                <a:srgbClr val="782A6B"/>
              </a:buClr>
              <a:buSzPct val="85000"/>
              <a:buFont typeface="Arial" pitchFamily="34" charset="0"/>
              <a:buChar char="•"/>
              <a:defRPr sz="1467" kern="1200" baseline="0">
                <a:solidFill>
                  <a:srgbClr val="5D6971"/>
                </a:solidFill>
                <a:latin typeface="Arial" pitchFamily="34" charset="0"/>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600"/>
              </a:spcBef>
              <a:spcAft>
                <a:spcPts val="0"/>
              </a:spcAft>
              <a:buClrTx/>
              <a:buSzTx/>
              <a:buFontTx/>
              <a:buNone/>
              <a:tabLst/>
              <a:defRPr/>
            </a:pPr>
            <a:endParaRPr kumimoji="0" lang="zh-CN" altLang="en-US" sz="1867" b="1" i="0" u="none" strike="noStrike" kern="1200" cap="none" spc="0" normalizeH="0" baseline="0" noProof="0" dirty="0">
              <a:ln>
                <a:noFill/>
              </a:ln>
              <a:solidFill>
                <a:srgbClr val="82286E"/>
              </a:solidFill>
              <a:effectLst/>
              <a:uLnTx/>
              <a:uFillTx/>
              <a:latin typeface="Arial" pitchFamily="34" charset="0"/>
              <a:ea typeface="黑体" panose="02010609060101010101" pitchFamily="49" charset="-122"/>
              <a:cs typeface="Arial" pitchFamily="34" charset="0"/>
            </a:endParaRPr>
          </a:p>
        </p:txBody>
      </p:sp>
      <p:sp>
        <p:nvSpPr>
          <p:cNvPr id="7" name="object 2">
            <a:extLst>
              <a:ext uri="{FF2B5EF4-FFF2-40B4-BE49-F238E27FC236}">
                <a16:creationId xmlns:a16="http://schemas.microsoft.com/office/drawing/2014/main" id="{9BC26614-5A48-11E0-3D53-FD33354D4936}"/>
              </a:ext>
            </a:extLst>
          </p:cNvPr>
          <p:cNvSpPr txBox="1"/>
          <p:nvPr/>
        </p:nvSpPr>
        <p:spPr>
          <a:xfrm>
            <a:off x="11832081" y="6487464"/>
            <a:ext cx="177800"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888888"/>
                </a:solidFill>
                <a:latin typeface="Times New Roman"/>
                <a:cs typeface="Times New Roman"/>
              </a:rPr>
              <a:t>31</a:t>
            </a:r>
            <a:endParaRPr sz="1200">
              <a:latin typeface="Times New Roman"/>
              <a:cs typeface="Times New Roman"/>
            </a:endParaRPr>
          </a:p>
        </p:txBody>
      </p:sp>
      <p:sp>
        <p:nvSpPr>
          <p:cNvPr id="9" name="object 7">
            <a:extLst>
              <a:ext uri="{FF2B5EF4-FFF2-40B4-BE49-F238E27FC236}">
                <a16:creationId xmlns:a16="http://schemas.microsoft.com/office/drawing/2014/main" id="{8A38454A-54C4-6046-7CE0-FECFEF213458}"/>
              </a:ext>
            </a:extLst>
          </p:cNvPr>
          <p:cNvSpPr txBox="1"/>
          <p:nvPr/>
        </p:nvSpPr>
        <p:spPr>
          <a:xfrm>
            <a:off x="565947" y="1491166"/>
            <a:ext cx="11266134" cy="1099275"/>
          </a:xfrm>
          <a:prstGeom prst="rect">
            <a:avLst/>
          </a:prstGeom>
        </p:spPr>
        <p:txBody>
          <a:bodyPr vert="horz" wrap="square" lIns="0" tIns="12700" rIns="0" bIns="0" rtlCol="0">
            <a:spAutoFit/>
          </a:bodyPr>
          <a:lstStyle/>
          <a:p>
            <a:pPr marL="24765">
              <a:lnSpc>
                <a:spcPct val="120000"/>
              </a:lnSpc>
              <a:spcBef>
                <a:spcPts val="100"/>
              </a:spcBef>
              <a:buClr>
                <a:srgbClr val="FF0000"/>
              </a:buClr>
              <a:tabLst>
                <a:tab pos="367665" algn="l"/>
                <a:tab pos="368935" algn="l"/>
              </a:tabLst>
            </a:pPr>
            <a:r>
              <a:rPr lang="en-US" altLang="zh-CN" sz="1600" spc="-5" dirty="0">
                <a:solidFill>
                  <a:srgbClr val="2473BA"/>
                </a:solidFill>
                <a:latin typeface="+mn-ea"/>
                <a:cs typeface="Noto Serif CJK JP"/>
              </a:rPr>
              <a:t>1.</a:t>
            </a:r>
            <a:r>
              <a:rPr lang="zh-CN" altLang="en-US" sz="1600" spc="-5" dirty="0">
                <a:solidFill>
                  <a:srgbClr val="2473BA"/>
                </a:solidFill>
                <a:latin typeface="+mn-ea"/>
                <a:cs typeface="Noto Serif CJK JP"/>
              </a:rPr>
              <a:t>唯一激活</a:t>
            </a:r>
            <a:r>
              <a:rPr lang="en-US" altLang="zh-CN" sz="1600" spc="-5" dirty="0">
                <a:solidFill>
                  <a:srgbClr val="2473BA"/>
                </a:solidFill>
                <a:latin typeface="+mn-ea"/>
                <a:cs typeface="Noto Serif CJK JP"/>
              </a:rPr>
              <a:t>Nrf2</a:t>
            </a:r>
            <a:r>
              <a:rPr lang="zh-CN" altLang="en-US" sz="1600" spc="-5" dirty="0">
                <a:solidFill>
                  <a:srgbClr val="2473BA"/>
                </a:solidFill>
                <a:latin typeface="+mn-ea"/>
                <a:cs typeface="Noto Serif CJK JP"/>
              </a:rPr>
              <a:t>防御机制，发挥抗氧化和抗炎作用，从而保护髓鞘和神经元（炎症、氧化应激可导致髓鞘损伤</a:t>
            </a:r>
            <a:r>
              <a:rPr lang="en-US" altLang="zh-CN" sz="1600" spc="-5" baseline="30000" dirty="0">
                <a:solidFill>
                  <a:srgbClr val="2473BA"/>
                </a:solidFill>
                <a:latin typeface="+mn-ea"/>
                <a:cs typeface="Noto Serif CJK JP"/>
              </a:rPr>
              <a:t>28</a:t>
            </a:r>
            <a:r>
              <a:rPr lang="zh-CN" altLang="en-US" sz="1600" spc="-5" dirty="0">
                <a:solidFill>
                  <a:srgbClr val="2473BA"/>
                </a:solidFill>
                <a:latin typeface="+mn-ea"/>
                <a:cs typeface="Noto Serif CJK JP"/>
              </a:rPr>
              <a:t>）  </a:t>
            </a:r>
          </a:p>
          <a:p>
            <a:pPr marL="24765">
              <a:lnSpc>
                <a:spcPct val="120000"/>
              </a:lnSpc>
              <a:spcBef>
                <a:spcPts val="100"/>
              </a:spcBef>
              <a:buClr>
                <a:srgbClr val="FF0000"/>
              </a:buClr>
              <a:tabLst>
                <a:tab pos="367665" algn="l"/>
                <a:tab pos="368935" algn="l"/>
              </a:tabLst>
            </a:pPr>
            <a:r>
              <a:rPr lang="en-US" altLang="zh-CN" sz="1600" spc="-5" dirty="0">
                <a:solidFill>
                  <a:srgbClr val="2473BA"/>
                </a:solidFill>
                <a:latin typeface="+mn-ea"/>
                <a:cs typeface="Noto Serif CJK JP"/>
              </a:rPr>
              <a:t>2.</a:t>
            </a:r>
            <a:r>
              <a:rPr lang="zh-CN" altLang="en-US" sz="1600" spc="-5" dirty="0">
                <a:solidFill>
                  <a:srgbClr val="2473BA"/>
                </a:solidFill>
                <a:latin typeface="+mn-ea"/>
                <a:cs typeface="Noto Serif CJK JP"/>
              </a:rPr>
              <a:t>唯一具有外周免疫调节和中枢神经保护的双重作用</a:t>
            </a:r>
            <a:r>
              <a:rPr lang="en-US" altLang="zh-CN" sz="1600" spc="-5" baseline="30000" dirty="0">
                <a:solidFill>
                  <a:srgbClr val="2473BA"/>
                </a:solidFill>
                <a:latin typeface="+mn-ea"/>
                <a:cs typeface="Noto Serif CJK JP"/>
              </a:rPr>
              <a:t>29,30</a:t>
            </a:r>
            <a:endParaRPr lang="zh-CN" altLang="en-US" sz="1600" spc="-5" baseline="30000" dirty="0">
              <a:solidFill>
                <a:srgbClr val="2473BA"/>
              </a:solidFill>
              <a:latin typeface="+mn-ea"/>
              <a:cs typeface="Noto Serif CJK JP"/>
            </a:endParaRPr>
          </a:p>
          <a:p>
            <a:pPr marL="24765">
              <a:lnSpc>
                <a:spcPct val="120000"/>
              </a:lnSpc>
              <a:spcBef>
                <a:spcPts val="100"/>
              </a:spcBef>
              <a:buClr>
                <a:srgbClr val="FF0000"/>
              </a:buClr>
              <a:tabLst>
                <a:tab pos="367665" algn="l"/>
                <a:tab pos="368935" algn="l"/>
              </a:tabLst>
            </a:pPr>
            <a:r>
              <a:rPr lang="en-US" altLang="zh-CN" sz="1600" spc="-5" dirty="0">
                <a:solidFill>
                  <a:srgbClr val="2473BA"/>
                </a:solidFill>
                <a:latin typeface="+mn-ea"/>
                <a:cs typeface="Noto Serif CJK JP"/>
              </a:rPr>
              <a:t>3.</a:t>
            </a:r>
            <a:r>
              <a:rPr lang="zh-CN" altLang="en-US" sz="1600" spc="-5" dirty="0">
                <a:solidFill>
                  <a:srgbClr val="2473BA"/>
                </a:solidFill>
                <a:latin typeface="+mn-ea"/>
                <a:cs typeface="Noto Serif CJK JP"/>
              </a:rPr>
              <a:t>调节免疫细胞活性，但不降低</a:t>
            </a:r>
            <a:r>
              <a:rPr lang="en-US" altLang="zh-CN" sz="1600" spc="-5" dirty="0">
                <a:solidFill>
                  <a:srgbClr val="2473BA"/>
                </a:solidFill>
                <a:latin typeface="+mn-ea"/>
                <a:cs typeface="Noto Serif CJK JP"/>
              </a:rPr>
              <a:t>B</a:t>
            </a:r>
            <a:r>
              <a:rPr lang="zh-CN" altLang="en-US" sz="1600" spc="-5" dirty="0">
                <a:solidFill>
                  <a:srgbClr val="2473BA"/>
                </a:solidFill>
                <a:latin typeface="+mn-ea"/>
                <a:cs typeface="Noto Serif CJK JP"/>
              </a:rPr>
              <a:t>细胞数量，故不降低疫苗应答率（包括流感、肺炎等疫苗</a:t>
            </a:r>
            <a:r>
              <a:rPr lang="en-US" altLang="zh-CN" sz="1600" spc="-5" baseline="30000" dirty="0">
                <a:solidFill>
                  <a:srgbClr val="2473BA"/>
                </a:solidFill>
                <a:latin typeface="+mn-ea"/>
                <a:cs typeface="Noto Serif CJK JP"/>
              </a:rPr>
              <a:t>31,32</a:t>
            </a:r>
            <a:r>
              <a:rPr lang="zh-CN" altLang="en-US" sz="1600" spc="-5" dirty="0">
                <a:solidFill>
                  <a:srgbClr val="2473BA"/>
                </a:solidFill>
                <a:latin typeface="+mn-ea"/>
                <a:cs typeface="Noto Serif CJK JP"/>
              </a:rPr>
              <a:t>）</a:t>
            </a:r>
          </a:p>
          <a:p>
            <a:pPr marL="310515" indent="-285750">
              <a:lnSpc>
                <a:spcPct val="100000"/>
              </a:lnSpc>
              <a:spcBef>
                <a:spcPts val="100"/>
              </a:spcBef>
              <a:buClr>
                <a:srgbClr val="FF0000"/>
              </a:buClr>
              <a:buFont typeface="Arial" panose="020B0604020202020204" pitchFamily="34" charset="0"/>
              <a:buChar char="•"/>
              <a:tabLst>
                <a:tab pos="367665" algn="l"/>
                <a:tab pos="368935" algn="l"/>
              </a:tabLst>
            </a:pPr>
            <a:endParaRPr lang="zh-CN" altLang="en-US" sz="1575" baseline="26455" dirty="0">
              <a:solidFill>
                <a:srgbClr val="2473BA"/>
              </a:solidFill>
              <a:latin typeface="+mn-ea"/>
              <a:cs typeface="Times New Roman"/>
            </a:endParaRPr>
          </a:p>
        </p:txBody>
      </p:sp>
      <p:grpSp>
        <p:nvGrpSpPr>
          <p:cNvPr id="11" name="组合 10">
            <a:extLst>
              <a:ext uri="{FF2B5EF4-FFF2-40B4-BE49-F238E27FC236}">
                <a16:creationId xmlns:a16="http://schemas.microsoft.com/office/drawing/2014/main" id="{BA6BFBF2-A39E-BFA5-27A2-AD134349FF75}"/>
              </a:ext>
            </a:extLst>
          </p:cNvPr>
          <p:cNvGrpSpPr/>
          <p:nvPr/>
        </p:nvGrpSpPr>
        <p:grpSpPr>
          <a:xfrm>
            <a:off x="1104781" y="2849622"/>
            <a:ext cx="9517236" cy="1864424"/>
            <a:chOff x="871819" y="1830936"/>
            <a:chExt cx="9517236" cy="1864424"/>
          </a:xfrm>
        </p:grpSpPr>
        <p:cxnSp>
          <p:nvCxnSpPr>
            <p:cNvPr id="12" name="直接箭头连接符 11">
              <a:extLst>
                <a:ext uri="{FF2B5EF4-FFF2-40B4-BE49-F238E27FC236}">
                  <a16:creationId xmlns:a16="http://schemas.microsoft.com/office/drawing/2014/main" id="{6BA2401B-9813-D540-403C-2FF957F0B75B}"/>
                </a:ext>
              </a:extLst>
            </p:cNvPr>
            <p:cNvCxnSpPr>
              <a:cxnSpLocks/>
              <a:endCxn id="14" idx="1"/>
            </p:cNvCxnSpPr>
            <p:nvPr/>
          </p:nvCxnSpPr>
          <p:spPr>
            <a:xfrm>
              <a:off x="3006270" y="2083028"/>
              <a:ext cx="2404667" cy="31405"/>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sp>
          <p:nvSpPr>
            <p:cNvPr id="13" name="矩形: 圆角 12">
              <a:extLst>
                <a:ext uri="{FF2B5EF4-FFF2-40B4-BE49-F238E27FC236}">
                  <a16:creationId xmlns:a16="http://schemas.microsoft.com/office/drawing/2014/main" id="{DC3B26C6-AB0A-48A9-22BD-3F87DF708D9B}"/>
                </a:ext>
              </a:extLst>
            </p:cNvPr>
            <p:cNvSpPr/>
            <p:nvPr/>
          </p:nvSpPr>
          <p:spPr>
            <a:xfrm>
              <a:off x="871819" y="1888723"/>
              <a:ext cx="2179713" cy="457288"/>
            </a:xfrm>
            <a:prstGeom prst="round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目录内</a:t>
              </a:r>
              <a:endParaRPr kumimoji="0" lang="en-US" altLang="zh-CN" sz="1100" b="0" i="0" u="none" strike="noStrike" kern="1200" cap="none" spc="0" normalizeH="0" baseline="0" noProof="0" dirty="0">
                <a:ln>
                  <a:noFill/>
                </a:ln>
                <a:solidFill>
                  <a:prstClr val="black"/>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solidFill>
                  <a:effectLst/>
                  <a:uLnTx/>
                  <a:uFillTx/>
                  <a:latin typeface="+mn-ea"/>
                  <a:cs typeface="+mn-cs"/>
                </a:rPr>
                <a:t>（特立氟胺、芬戈莫德和西尼莫德）</a:t>
              </a:r>
            </a:p>
          </p:txBody>
        </p:sp>
        <p:sp>
          <p:nvSpPr>
            <p:cNvPr id="14" name="矩形: 圆角 13">
              <a:extLst>
                <a:ext uri="{FF2B5EF4-FFF2-40B4-BE49-F238E27FC236}">
                  <a16:creationId xmlns:a16="http://schemas.microsoft.com/office/drawing/2014/main" id="{C89E43CC-C5B5-B59F-97BC-4120113A6021}"/>
                </a:ext>
              </a:extLst>
            </p:cNvPr>
            <p:cNvSpPr/>
            <p:nvPr/>
          </p:nvSpPr>
          <p:spPr>
            <a:xfrm>
              <a:off x="5410937" y="1885789"/>
              <a:ext cx="1831449" cy="457288"/>
            </a:xfrm>
            <a:prstGeom prst="round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免疫调节</a:t>
              </a:r>
            </a:p>
          </p:txBody>
        </p:sp>
        <p:sp>
          <p:nvSpPr>
            <p:cNvPr id="15" name="文本框 14">
              <a:extLst>
                <a:ext uri="{FF2B5EF4-FFF2-40B4-BE49-F238E27FC236}">
                  <a16:creationId xmlns:a16="http://schemas.microsoft.com/office/drawing/2014/main" id="{063F55E6-98F0-09F0-DF7A-2D6AD22BCBCC}"/>
                </a:ext>
              </a:extLst>
            </p:cNvPr>
            <p:cNvSpPr txBox="1"/>
            <p:nvPr/>
          </p:nvSpPr>
          <p:spPr>
            <a:xfrm>
              <a:off x="3223259" y="1830936"/>
              <a:ext cx="245323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直接作用于外周免疫系统</a:t>
              </a:r>
            </a:p>
          </p:txBody>
        </p:sp>
        <p:cxnSp>
          <p:nvCxnSpPr>
            <p:cNvPr id="16" name="直接箭头连接符 15">
              <a:extLst>
                <a:ext uri="{FF2B5EF4-FFF2-40B4-BE49-F238E27FC236}">
                  <a16:creationId xmlns:a16="http://schemas.microsoft.com/office/drawing/2014/main" id="{6151E63E-31F3-518B-4651-58F81E4F9FA4}"/>
                </a:ext>
              </a:extLst>
            </p:cNvPr>
            <p:cNvCxnSpPr>
              <a:cxnSpLocks/>
            </p:cNvCxnSpPr>
            <p:nvPr/>
          </p:nvCxnSpPr>
          <p:spPr>
            <a:xfrm>
              <a:off x="7304566" y="2083028"/>
              <a:ext cx="590436" cy="7321"/>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sp>
          <p:nvSpPr>
            <p:cNvPr id="17" name="矩形: 圆角 16">
              <a:extLst>
                <a:ext uri="{FF2B5EF4-FFF2-40B4-BE49-F238E27FC236}">
                  <a16:creationId xmlns:a16="http://schemas.microsoft.com/office/drawing/2014/main" id="{127E303F-4001-681C-1D9F-7F743DF98E25}"/>
                </a:ext>
              </a:extLst>
            </p:cNvPr>
            <p:cNvSpPr/>
            <p:nvPr/>
          </p:nvSpPr>
          <p:spPr>
            <a:xfrm>
              <a:off x="7926901" y="1830936"/>
              <a:ext cx="2462154" cy="512141"/>
            </a:xfrm>
            <a:prstGeom prst="roundRect">
              <a:avLst/>
            </a:prstGeom>
            <a:solidFill>
              <a:srgbClr val="B6D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dirty="0">
                  <a:solidFill>
                    <a:prstClr val="black"/>
                  </a:solidFill>
                  <a:latin typeface="+mn-ea"/>
                </a:rPr>
                <a:t>主要</a:t>
              </a:r>
              <a:r>
                <a:rPr kumimoji="0" lang="zh-CN" altLang="en-US" sz="1100" b="0" i="0" u="none" strike="noStrike" kern="1200" cap="none" spc="0" normalizeH="0" baseline="0" noProof="0" dirty="0">
                  <a:ln>
                    <a:noFill/>
                  </a:ln>
                  <a:solidFill>
                    <a:prstClr val="black"/>
                  </a:solidFill>
                  <a:effectLst/>
                  <a:uLnTx/>
                  <a:uFillTx/>
                  <a:latin typeface="+mn-ea"/>
                </a:rPr>
                <a:t>应对多发性硬化病理生理涉及</a:t>
              </a:r>
              <a:r>
                <a:rPr kumimoji="0" lang="zh-CN" altLang="en-US" sz="1100" b="0" i="0" u="none" strike="noStrike" kern="1200" cap="none" spc="0" normalizeH="0" baseline="0" noProof="0" dirty="0">
                  <a:ln>
                    <a:noFill/>
                  </a:ln>
                  <a:solidFill>
                    <a:srgbClr val="FF0000"/>
                  </a:solidFill>
                  <a:effectLst/>
                  <a:uLnTx/>
                  <a:uFillTx/>
                  <a:latin typeface="+mn-ea"/>
                </a:rPr>
                <a:t>外周环节</a:t>
              </a:r>
            </a:p>
          </p:txBody>
        </p:sp>
        <p:sp>
          <p:nvSpPr>
            <p:cNvPr id="18" name="矩形: 圆角 17">
              <a:extLst>
                <a:ext uri="{FF2B5EF4-FFF2-40B4-BE49-F238E27FC236}">
                  <a16:creationId xmlns:a16="http://schemas.microsoft.com/office/drawing/2014/main" id="{04252294-938A-FE7C-5C12-8B7360BC7526}"/>
                </a:ext>
              </a:extLst>
            </p:cNvPr>
            <p:cNvSpPr/>
            <p:nvPr/>
          </p:nvSpPr>
          <p:spPr>
            <a:xfrm>
              <a:off x="871819" y="2748071"/>
              <a:ext cx="2179711" cy="683802"/>
            </a:xfrm>
            <a:prstGeom prst="roundRect">
              <a:avLst/>
            </a:prstGeom>
            <a:solidFill>
              <a:srgbClr val="5EA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富马酸二甲酯 </a:t>
              </a:r>
              <a:endParaRPr kumimoji="0" lang="zh-CN" altLang="en-US" sz="1000" b="0" i="0" u="none" strike="noStrike" kern="1200" cap="none" spc="0" normalizeH="0" baseline="0" noProof="0" dirty="0">
                <a:ln>
                  <a:noFill/>
                </a:ln>
                <a:solidFill>
                  <a:prstClr val="black"/>
                </a:solidFill>
                <a:effectLst/>
                <a:uLnTx/>
                <a:uFillTx/>
                <a:latin typeface="+mn-ea"/>
                <a:cs typeface="+mn-cs"/>
              </a:endParaRPr>
            </a:p>
          </p:txBody>
        </p:sp>
        <p:cxnSp>
          <p:nvCxnSpPr>
            <p:cNvPr id="19" name="直接箭头连接符 18">
              <a:extLst>
                <a:ext uri="{FF2B5EF4-FFF2-40B4-BE49-F238E27FC236}">
                  <a16:creationId xmlns:a16="http://schemas.microsoft.com/office/drawing/2014/main" id="{7CAA126C-AD86-4DF4-F952-7F466C2AA826}"/>
                </a:ext>
              </a:extLst>
            </p:cNvPr>
            <p:cNvCxnSpPr>
              <a:cxnSpLocks/>
            </p:cNvCxnSpPr>
            <p:nvPr/>
          </p:nvCxnSpPr>
          <p:spPr>
            <a:xfrm>
              <a:off x="3047797" y="3095907"/>
              <a:ext cx="1831451" cy="8763"/>
            </a:xfrm>
            <a:prstGeom prst="straightConnector1">
              <a:avLst/>
            </a:prstGeom>
            <a:ln>
              <a:solidFill>
                <a:srgbClr val="2473BA"/>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6DBBC657-F311-7A6B-E3AD-DF1BD50EFF52}"/>
                </a:ext>
              </a:extLst>
            </p:cNvPr>
            <p:cNvSpPr txBox="1"/>
            <p:nvPr/>
          </p:nvSpPr>
          <p:spPr>
            <a:xfrm>
              <a:off x="3377868" y="2857635"/>
              <a:ext cx="142078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激活</a:t>
              </a:r>
              <a:r>
                <a:rPr kumimoji="0" lang="en-US" altLang="zh-CN" sz="1100" b="0" i="0" u="none" strike="noStrike" kern="1200" cap="none" spc="0" normalizeH="0" baseline="0" noProof="0" dirty="0">
                  <a:ln>
                    <a:noFill/>
                  </a:ln>
                  <a:solidFill>
                    <a:prstClr val="black"/>
                  </a:solidFill>
                  <a:effectLst/>
                  <a:uLnTx/>
                  <a:uFillTx/>
                  <a:latin typeface="+mn-ea"/>
                  <a:cs typeface="+mn-cs"/>
                </a:rPr>
                <a:t>Nrf2 </a:t>
              </a:r>
              <a:r>
                <a:rPr kumimoji="0" lang="zh-CN" altLang="en-US" sz="1100" b="0" i="0" u="none" strike="noStrike" kern="1200" cap="none" spc="0" normalizeH="0" baseline="0" noProof="0" dirty="0">
                  <a:ln>
                    <a:noFill/>
                  </a:ln>
                  <a:solidFill>
                    <a:prstClr val="black"/>
                  </a:solidFill>
                  <a:effectLst/>
                  <a:uLnTx/>
                  <a:uFillTx/>
                  <a:latin typeface="+mn-ea"/>
                  <a:cs typeface="+mn-cs"/>
                </a:rPr>
                <a:t>通路 </a:t>
              </a:r>
            </a:p>
          </p:txBody>
        </p:sp>
        <p:cxnSp>
          <p:nvCxnSpPr>
            <p:cNvPr id="21" name="直接箭头连接符 20">
              <a:extLst>
                <a:ext uri="{FF2B5EF4-FFF2-40B4-BE49-F238E27FC236}">
                  <a16:creationId xmlns:a16="http://schemas.microsoft.com/office/drawing/2014/main" id="{C64793D0-D2B1-4394-6E24-F71AFC85B3D9}"/>
                </a:ext>
              </a:extLst>
            </p:cNvPr>
            <p:cNvCxnSpPr>
              <a:cxnSpLocks/>
              <a:endCxn id="23" idx="1"/>
            </p:cNvCxnSpPr>
            <p:nvPr/>
          </p:nvCxnSpPr>
          <p:spPr>
            <a:xfrm flipV="1">
              <a:off x="4879248" y="2840770"/>
              <a:ext cx="531689" cy="263487"/>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a:extLst>
                <a:ext uri="{FF2B5EF4-FFF2-40B4-BE49-F238E27FC236}">
                  <a16:creationId xmlns:a16="http://schemas.microsoft.com/office/drawing/2014/main" id="{951452C8-4907-FA63-E21C-5EB1CF441DB0}"/>
                </a:ext>
              </a:extLst>
            </p:cNvPr>
            <p:cNvCxnSpPr>
              <a:cxnSpLocks/>
              <a:endCxn id="24" idx="1"/>
            </p:cNvCxnSpPr>
            <p:nvPr/>
          </p:nvCxnSpPr>
          <p:spPr>
            <a:xfrm>
              <a:off x="4902134" y="3110830"/>
              <a:ext cx="508802" cy="321043"/>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sp>
          <p:nvSpPr>
            <p:cNvPr id="23" name="矩形: 圆角 22">
              <a:extLst>
                <a:ext uri="{FF2B5EF4-FFF2-40B4-BE49-F238E27FC236}">
                  <a16:creationId xmlns:a16="http://schemas.microsoft.com/office/drawing/2014/main" id="{EED03EC7-953E-F94A-B527-D7AA2AA0BA3C}"/>
                </a:ext>
              </a:extLst>
            </p:cNvPr>
            <p:cNvSpPr/>
            <p:nvPr/>
          </p:nvSpPr>
          <p:spPr>
            <a:xfrm>
              <a:off x="5410937" y="2577282"/>
              <a:ext cx="1831450" cy="526975"/>
            </a:xfrm>
            <a:prstGeom prst="roundRect">
              <a:avLst/>
            </a:prstGeom>
            <a:solidFill>
              <a:srgbClr val="5EA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免疫调节</a:t>
              </a:r>
              <a:endParaRPr kumimoji="0" lang="zh-CN" altLang="en-US" sz="1000" b="0" i="0" u="none" strike="noStrike" kern="1200" cap="none" spc="0" normalizeH="0" baseline="0" noProof="0" dirty="0">
                <a:ln>
                  <a:noFill/>
                </a:ln>
                <a:solidFill>
                  <a:prstClr val="black"/>
                </a:solidFill>
                <a:effectLst/>
                <a:uLnTx/>
                <a:uFillTx/>
                <a:latin typeface="+mn-ea"/>
                <a:cs typeface="+mn-cs"/>
              </a:endParaRPr>
            </a:p>
          </p:txBody>
        </p:sp>
        <p:sp>
          <p:nvSpPr>
            <p:cNvPr id="24" name="矩形: 圆角 23">
              <a:extLst>
                <a:ext uri="{FF2B5EF4-FFF2-40B4-BE49-F238E27FC236}">
                  <a16:creationId xmlns:a16="http://schemas.microsoft.com/office/drawing/2014/main" id="{0BF1CED1-7626-592A-80EB-39E588AAA412}"/>
                </a:ext>
              </a:extLst>
            </p:cNvPr>
            <p:cNvSpPr/>
            <p:nvPr/>
          </p:nvSpPr>
          <p:spPr>
            <a:xfrm>
              <a:off x="5410936" y="3168385"/>
              <a:ext cx="1831450" cy="526975"/>
            </a:xfrm>
            <a:prstGeom prst="roundRect">
              <a:avLst/>
            </a:prstGeom>
            <a:solidFill>
              <a:srgbClr val="5EA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中枢神经保护</a:t>
              </a:r>
              <a:endParaRPr kumimoji="0" lang="zh-CN" altLang="en-US" sz="1000" b="0" i="0" u="none" strike="noStrike" kern="1200" cap="none" spc="0" normalizeH="0" baseline="0" noProof="0" dirty="0">
                <a:ln>
                  <a:noFill/>
                </a:ln>
                <a:solidFill>
                  <a:prstClr val="black"/>
                </a:solidFill>
                <a:effectLst/>
                <a:uLnTx/>
                <a:uFillTx/>
                <a:latin typeface="+mn-ea"/>
                <a:cs typeface="+mn-cs"/>
              </a:endParaRPr>
            </a:p>
          </p:txBody>
        </p:sp>
        <p:cxnSp>
          <p:nvCxnSpPr>
            <p:cNvPr id="25" name="直接箭头连接符 24">
              <a:extLst>
                <a:ext uri="{FF2B5EF4-FFF2-40B4-BE49-F238E27FC236}">
                  <a16:creationId xmlns:a16="http://schemas.microsoft.com/office/drawing/2014/main" id="{350628A6-377D-2BCA-EFA8-0DF8EB230F48}"/>
                </a:ext>
              </a:extLst>
            </p:cNvPr>
            <p:cNvCxnSpPr>
              <a:cxnSpLocks/>
              <a:stCxn id="23" idx="3"/>
              <a:endCxn id="27" idx="1"/>
            </p:cNvCxnSpPr>
            <p:nvPr/>
          </p:nvCxnSpPr>
          <p:spPr>
            <a:xfrm>
              <a:off x="7242387" y="2840770"/>
              <a:ext cx="612287" cy="330081"/>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B8C554A0-8033-1AAB-B981-399C01B9F22D}"/>
                </a:ext>
              </a:extLst>
            </p:cNvPr>
            <p:cNvCxnSpPr>
              <a:cxnSpLocks/>
              <a:stCxn id="24" idx="3"/>
              <a:endCxn id="27" idx="1"/>
            </p:cNvCxnSpPr>
            <p:nvPr/>
          </p:nvCxnSpPr>
          <p:spPr>
            <a:xfrm flipV="1">
              <a:off x="7242386" y="3170851"/>
              <a:ext cx="612288" cy="261022"/>
            </a:xfrm>
            <a:prstGeom prst="straightConnector1">
              <a:avLst/>
            </a:prstGeom>
            <a:ln>
              <a:solidFill>
                <a:srgbClr val="2473BA"/>
              </a:solidFill>
              <a:tailEnd type="triangle"/>
            </a:ln>
          </p:spPr>
          <p:style>
            <a:lnRef idx="1">
              <a:schemeClr val="accent1"/>
            </a:lnRef>
            <a:fillRef idx="0">
              <a:schemeClr val="accent1"/>
            </a:fillRef>
            <a:effectRef idx="0">
              <a:schemeClr val="accent1"/>
            </a:effectRef>
            <a:fontRef idx="minor">
              <a:schemeClr val="tx1"/>
            </a:fontRef>
          </p:style>
        </p:cxnSp>
        <p:sp>
          <p:nvSpPr>
            <p:cNvPr id="27" name="矩形: 圆角 26">
              <a:extLst>
                <a:ext uri="{FF2B5EF4-FFF2-40B4-BE49-F238E27FC236}">
                  <a16:creationId xmlns:a16="http://schemas.microsoft.com/office/drawing/2014/main" id="{5DFF17FE-F1BF-7E08-77F6-13CDE4DB7D0A}"/>
                </a:ext>
              </a:extLst>
            </p:cNvPr>
            <p:cNvSpPr/>
            <p:nvPr/>
          </p:nvSpPr>
          <p:spPr>
            <a:xfrm>
              <a:off x="7854674" y="2708063"/>
              <a:ext cx="2534381" cy="925575"/>
            </a:xfrm>
            <a:prstGeom prst="roundRect">
              <a:avLst/>
            </a:prstGeom>
            <a:solidFill>
              <a:srgbClr val="5EA2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0000"/>
                  </a:solidFill>
                  <a:effectLst/>
                  <a:uLnTx/>
                  <a:uFillTx/>
                  <a:latin typeface="+mn-ea"/>
                  <a:cs typeface="+mn-cs"/>
                </a:rPr>
                <a:t>双重保护作用</a:t>
              </a:r>
              <a:endParaRPr kumimoji="0" lang="en-US" altLang="zh-CN" sz="1100" b="0" i="0" u="none" strike="noStrike" kern="1200" cap="none" spc="0" normalizeH="0" baseline="0" noProof="0" dirty="0">
                <a:ln>
                  <a:noFill/>
                </a:ln>
                <a:solidFill>
                  <a:srgbClr val="FF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prstClr val="black"/>
                  </a:solidFill>
                  <a:effectLst/>
                  <a:uLnTx/>
                  <a:uFillTx/>
                  <a:latin typeface="+mn-ea"/>
                  <a:cs typeface="+mn-cs"/>
                </a:rPr>
                <a:t>应对多发性硬化病理生理涉及</a:t>
              </a:r>
              <a:endParaRPr kumimoji="0" lang="en-US" altLang="zh-CN" sz="1100" b="0" i="0" u="none" strike="noStrike" kern="1200" cap="none" spc="0" normalizeH="0" baseline="0" noProof="0" dirty="0">
                <a:ln>
                  <a:noFill/>
                </a:ln>
                <a:solidFill>
                  <a:prstClr val="black"/>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FF0000"/>
                  </a:solidFill>
                  <a:effectLst/>
                  <a:uLnTx/>
                  <a:uFillTx/>
                  <a:latin typeface="+mn-ea"/>
                  <a:cs typeface="+mn-cs"/>
                </a:rPr>
                <a:t>外周和中枢</a:t>
              </a:r>
              <a:r>
                <a:rPr kumimoji="0" lang="zh-CN" altLang="en-US" sz="1100" b="0" i="0" u="none" strike="noStrike" kern="1200" cap="none" spc="0" normalizeH="0" baseline="0" noProof="0" dirty="0">
                  <a:ln>
                    <a:noFill/>
                  </a:ln>
                  <a:solidFill>
                    <a:prstClr val="black"/>
                  </a:solidFill>
                  <a:effectLst/>
                  <a:uLnTx/>
                  <a:uFillTx/>
                  <a:latin typeface="+mn-ea"/>
                  <a:cs typeface="+mn-cs"/>
                </a:rPr>
                <a:t>多个环节</a:t>
              </a:r>
              <a:endParaRPr kumimoji="0" lang="zh-CN" altLang="en-US" sz="1000" b="0" i="0" u="none" strike="noStrike" kern="1200" cap="none" spc="0" normalizeH="0" baseline="0" noProof="0" dirty="0">
                <a:ln>
                  <a:noFill/>
                </a:ln>
                <a:solidFill>
                  <a:prstClr val="black"/>
                </a:solidFill>
                <a:effectLst/>
                <a:uLnTx/>
                <a:uFillTx/>
                <a:latin typeface="+mn-ea"/>
                <a:cs typeface="+mn-cs"/>
              </a:endParaRPr>
            </a:p>
          </p:txBody>
        </p:sp>
        <p:sp>
          <p:nvSpPr>
            <p:cNvPr id="28" name="文本框 27">
              <a:extLst>
                <a:ext uri="{FF2B5EF4-FFF2-40B4-BE49-F238E27FC236}">
                  <a16:creationId xmlns:a16="http://schemas.microsoft.com/office/drawing/2014/main" id="{45746B93-864A-D2E8-0C86-E9C9F7C185AE}"/>
                </a:ext>
              </a:extLst>
            </p:cNvPr>
            <p:cNvSpPr txBox="1"/>
            <p:nvPr/>
          </p:nvSpPr>
          <p:spPr>
            <a:xfrm>
              <a:off x="3162116" y="3113433"/>
              <a:ext cx="183145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prstClr val="black"/>
                  </a:solidFill>
                  <a:effectLst/>
                  <a:uLnTx/>
                  <a:uFillTx/>
                  <a:latin typeface="+mn-ea"/>
                </a:rPr>
                <a:t> </a:t>
              </a:r>
              <a:r>
                <a:rPr kumimoji="0" lang="zh-CN" altLang="en-US" sz="1100" b="0" i="0" u="none" strike="noStrike" kern="1200" cap="none" spc="0" normalizeH="0" baseline="0" noProof="0" dirty="0">
                  <a:ln>
                    <a:noFill/>
                  </a:ln>
                  <a:solidFill>
                    <a:prstClr val="black"/>
                  </a:solidFill>
                  <a:effectLst/>
                  <a:uLnTx/>
                  <a:uFillTx/>
                  <a:latin typeface="+mn-ea"/>
                </a:rPr>
                <a:t>抑制炎症和氧化</a:t>
              </a:r>
              <a:r>
                <a:rPr lang="zh-CN" altLang="en-US" sz="1100" noProof="0" dirty="0">
                  <a:solidFill>
                    <a:prstClr val="black"/>
                  </a:solidFill>
                  <a:latin typeface="+mn-ea"/>
                </a:rPr>
                <a:t>反应</a:t>
              </a:r>
              <a:endParaRPr kumimoji="0" lang="zh-CN" altLang="en-US" sz="1100" b="0" i="0" u="none" strike="noStrike" kern="1200" cap="none" spc="0" normalizeH="0" baseline="0" noProof="0" dirty="0">
                <a:ln>
                  <a:noFill/>
                </a:ln>
                <a:solidFill>
                  <a:prstClr val="black"/>
                </a:solidFill>
                <a:effectLst/>
                <a:uLnTx/>
                <a:uFillTx/>
                <a:latin typeface="+mn-ea"/>
              </a:endParaRPr>
            </a:p>
          </p:txBody>
        </p:sp>
      </p:grpSp>
      <p:sp>
        <p:nvSpPr>
          <p:cNvPr id="30" name="object 7">
            <a:extLst>
              <a:ext uri="{FF2B5EF4-FFF2-40B4-BE49-F238E27FC236}">
                <a16:creationId xmlns:a16="http://schemas.microsoft.com/office/drawing/2014/main" id="{57BCBCFA-2145-845A-5588-B47D0BA4C357}"/>
              </a:ext>
            </a:extLst>
          </p:cNvPr>
          <p:cNvSpPr txBox="1"/>
          <p:nvPr/>
        </p:nvSpPr>
        <p:spPr>
          <a:xfrm>
            <a:off x="1307138" y="5225057"/>
            <a:ext cx="10811710" cy="259045"/>
          </a:xfrm>
          <a:prstGeom prst="rect">
            <a:avLst/>
          </a:prstGeom>
        </p:spPr>
        <p:txBody>
          <a:bodyPr vert="horz" wrap="square" lIns="0" tIns="12700" rIns="0" bIns="0" rtlCol="0">
            <a:spAutoFit/>
          </a:bodyPr>
          <a:lstStyle/>
          <a:p>
            <a:pPr marL="24765">
              <a:lnSpc>
                <a:spcPct val="100000"/>
              </a:lnSpc>
              <a:spcBef>
                <a:spcPts val="100"/>
              </a:spcBef>
              <a:buClr>
                <a:srgbClr val="2473BA"/>
              </a:buClr>
              <a:tabLst>
                <a:tab pos="367665" algn="l"/>
                <a:tab pos="368935" algn="l"/>
              </a:tabLst>
            </a:pPr>
            <a:r>
              <a:rPr lang="zh-CN" altLang="zh-CN" sz="1600" spc="-5" dirty="0">
                <a:solidFill>
                  <a:srgbClr val="2473BA"/>
                </a:solidFill>
                <a:latin typeface="+mn-ea"/>
              </a:rPr>
              <a:t>含有肠溶包衣微片的肠溶胶囊制剂，可防止活性成分在胃液中释放，同时保证在肠液中崩解并快速释放活性成分</a:t>
            </a:r>
            <a:r>
              <a:rPr lang="zh-CN" altLang="en-US" sz="1600" spc="-5" baseline="30000" dirty="0">
                <a:solidFill>
                  <a:srgbClr val="2473BA"/>
                </a:solidFill>
                <a:latin typeface="+mn-ea"/>
              </a:rPr>
              <a:t>上市申报文件</a:t>
            </a:r>
            <a:endParaRPr sz="1600" spc="-5" baseline="30000" dirty="0">
              <a:solidFill>
                <a:srgbClr val="2473BA"/>
              </a:solidFill>
              <a:latin typeface="+mn-ea"/>
            </a:endParaRPr>
          </a:p>
        </p:txBody>
      </p:sp>
      <p:sp>
        <p:nvSpPr>
          <p:cNvPr id="2" name="标题 1">
            <a:extLst>
              <a:ext uri="{FF2B5EF4-FFF2-40B4-BE49-F238E27FC236}">
                <a16:creationId xmlns:a16="http://schemas.microsoft.com/office/drawing/2014/main" id="{C45C06FD-3042-2345-7925-A90537B5D829}"/>
              </a:ext>
            </a:extLst>
          </p:cNvPr>
          <p:cNvSpPr>
            <a:spLocks noGrp="1"/>
          </p:cNvSpPr>
          <p:nvPr>
            <p:ph type="title"/>
          </p:nvPr>
        </p:nvSpPr>
        <p:spPr>
          <a:xfrm>
            <a:off x="166013" y="73025"/>
            <a:ext cx="11666068" cy="498475"/>
          </a:xfrm>
        </p:spPr>
        <p:txBody>
          <a:bodyPr vert="horz">
            <a:noAutofit/>
          </a:bodyPr>
          <a:lstStyle/>
          <a:p>
            <a:r>
              <a:rPr lang="en-US" altLang="zh-CN" sz="2900" dirty="0"/>
              <a:t>04 </a:t>
            </a:r>
            <a:r>
              <a:rPr lang="zh-CN" altLang="en-US" sz="2900" dirty="0"/>
              <a:t>创新性</a:t>
            </a:r>
            <a:r>
              <a:rPr lang="en-US" altLang="zh-CN" sz="2900" dirty="0"/>
              <a:t>-</a:t>
            </a:r>
            <a:r>
              <a:rPr lang="zh-CN" altLang="en-US" sz="2900" dirty="0"/>
              <a:t>上：</a:t>
            </a:r>
            <a:r>
              <a:rPr lang="zh-CN" altLang="en-US" sz="2400" kern="800" spc="-90" dirty="0"/>
              <a:t>双重机制保护髓鞘和神经元，不降低疫苗应答率</a:t>
            </a:r>
            <a:endParaRPr lang="zh-CN" altLang="en-US" sz="2800" dirty="0"/>
          </a:p>
        </p:txBody>
      </p:sp>
      <p:sp>
        <p:nvSpPr>
          <p:cNvPr id="31" name="圆角矩形 15">
            <a:extLst>
              <a:ext uri="{FF2B5EF4-FFF2-40B4-BE49-F238E27FC236}">
                <a16:creationId xmlns:a16="http://schemas.microsoft.com/office/drawing/2014/main" id="{F02E8D9C-7B4A-1919-C58B-E3DE365CFDB5}"/>
              </a:ext>
            </a:extLst>
          </p:cNvPr>
          <p:cNvSpPr>
            <a:spLocks/>
          </p:cNvSpPr>
          <p:nvPr/>
        </p:nvSpPr>
        <p:spPr>
          <a:xfrm>
            <a:off x="459865" y="855802"/>
            <a:ext cx="2828693" cy="425223"/>
          </a:xfrm>
          <a:prstGeom prst="roundRect">
            <a:avLst>
              <a:gd name="adj" fmla="val 0"/>
            </a:avLst>
          </a:prstGeom>
          <a:solidFill>
            <a:srgbClr val="2473BA"/>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lnSpc>
                <a:spcPct val="150000"/>
              </a:lnSpc>
              <a:defRPr/>
            </a:pPr>
            <a:endParaRPr kumimoji="0" lang="en-US" altLang="zh-CN" sz="1400" b="1" i="0" u="none" strike="noStrike" kern="1200" cap="none" spc="0" normalizeH="0" baseline="0" noProof="0" dirty="0">
              <a:ln>
                <a:noFill/>
              </a:ln>
              <a:solidFill>
                <a:schemeClr val="accent6"/>
              </a:solidFill>
              <a:effectLst/>
              <a:uLnTx/>
              <a:uFillTx/>
              <a:latin typeface="Arial" panose="020B0604020202020204" pitchFamily="34" charset="0"/>
              <a:ea typeface="微软雅黑" panose="020B0503020204020204" pitchFamily="34" charset="-122"/>
              <a:cs typeface="+mn-cs"/>
            </a:endParaRPr>
          </a:p>
        </p:txBody>
      </p:sp>
      <p:sp>
        <p:nvSpPr>
          <p:cNvPr id="32" name="文本框 31">
            <a:extLst>
              <a:ext uri="{FF2B5EF4-FFF2-40B4-BE49-F238E27FC236}">
                <a16:creationId xmlns:a16="http://schemas.microsoft.com/office/drawing/2014/main" id="{34C05681-D894-59F2-7C88-C71A779652F2}"/>
              </a:ext>
            </a:extLst>
          </p:cNvPr>
          <p:cNvSpPr txBox="1"/>
          <p:nvPr/>
        </p:nvSpPr>
        <p:spPr>
          <a:xfrm>
            <a:off x="845974" y="769742"/>
            <a:ext cx="2157264" cy="499111"/>
          </a:xfrm>
          <a:prstGeom prst="rect">
            <a:avLst/>
          </a:prstGeom>
          <a:noFill/>
        </p:spPr>
        <p:txBody>
          <a:bodyPr wrap="square">
            <a:spAutoFit/>
          </a:bodyPr>
          <a:lstStyle/>
          <a:p>
            <a:pPr algn="ctr" defTabSz="913765">
              <a:lnSpc>
                <a:spcPct val="150000"/>
              </a:lnSpc>
              <a:defRPr/>
            </a:pPr>
            <a:r>
              <a:rPr lang="zh-CN" altLang="en-US" sz="2000" b="1" dirty="0">
                <a:solidFill>
                  <a:prstClr val="white"/>
                </a:solidFill>
                <a:latin typeface="Arial" panose="020B0604020202020204" pitchFamily="34" charset="0"/>
                <a:ea typeface="微软雅黑" panose="020B0503020204020204" pitchFamily="34" charset="-122"/>
              </a:rPr>
              <a:t>机制及靶点创新：</a:t>
            </a:r>
          </a:p>
        </p:txBody>
      </p:sp>
      <p:sp>
        <p:nvSpPr>
          <p:cNvPr id="47" name="文本框 46">
            <a:extLst>
              <a:ext uri="{FF2B5EF4-FFF2-40B4-BE49-F238E27FC236}">
                <a16:creationId xmlns:a16="http://schemas.microsoft.com/office/drawing/2014/main" id="{44BF92B1-8478-9986-0CD1-918E424B9A8C}"/>
              </a:ext>
            </a:extLst>
          </p:cNvPr>
          <p:cNvSpPr txBox="1"/>
          <p:nvPr/>
        </p:nvSpPr>
        <p:spPr>
          <a:xfrm>
            <a:off x="503596" y="5865388"/>
            <a:ext cx="10811710" cy="375296"/>
          </a:xfrm>
          <a:prstGeom prst="rect">
            <a:avLst/>
          </a:prstGeom>
          <a:noFill/>
        </p:spPr>
        <p:txBody>
          <a:bodyPr wrap="square" rtlCol="0">
            <a:spAutoFit/>
          </a:bodyPr>
          <a:lstStyle/>
          <a:p>
            <a:pPr>
              <a:lnSpc>
                <a:spcPct val="120000"/>
              </a:lnSpc>
            </a:pPr>
            <a:r>
              <a:rPr lang="en-US" altLang="zh-CN" sz="800" dirty="0">
                <a:latin typeface="+mj-ea"/>
                <a:ea typeface="+mj-ea"/>
              </a:rPr>
              <a:t>28. </a:t>
            </a:r>
            <a:r>
              <a:rPr lang="en-US" altLang="zh-CN" sz="800" dirty="0" err="1">
                <a:latin typeface="+mj-ea"/>
                <a:ea typeface="+mj-ea"/>
              </a:rPr>
              <a:t>Michaličková</a:t>
            </a:r>
            <a:r>
              <a:rPr lang="en-US" altLang="zh-CN" sz="800" dirty="0">
                <a:latin typeface="+mj-ea"/>
                <a:ea typeface="+mj-ea"/>
              </a:rPr>
              <a:t> D et </a:t>
            </a:r>
            <a:r>
              <a:rPr lang="en-US" altLang="zh-CN" sz="800" dirty="0" err="1">
                <a:latin typeface="+mj-ea"/>
                <a:ea typeface="+mj-ea"/>
              </a:rPr>
              <a:t>al.Eur</a:t>
            </a:r>
            <a:r>
              <a:rPr lang="en-US" altLang="zh-CN" sz="800" dirty="0">
                <a:latin typeface="+mj-ea"/>
                <a:ea typeface="+mj-ea"/>
              </a:rPr>
              <a:t> J </a:t>
            </a:r>
            <a:r>
              <a:rPr lang="en-US" altLang="zh-CN" sz="800" dirty="0" err="1">
                <a:latin typeface="+mj-ea"/>
                <a:ea typeface="+mj-ea"/>
              </a:rPr>
              <a:t>Pharmacol</a:t>
            </a:r>
            <a:r>
              <a:rPr lang="en-US" altLang="zh-CN" sz="800" dirty="0">
                <a:latin typeface="+mj-ea"/>
                <a:ea typeface="+mj-ea"/>
              </a:rPr>
              <a:t>. 2020 Apr 15;873:172973             29. </a:t>
            </a:r>
            <a:r>
              <a:rPr lang="en-US" altLang="zh-CN" sz="800" dirty="0" err="1">
                <a:latin typeface="+mj-ea"/>
                <a:ea typeface="+mj-ea"/>
              </a:rPr>
              <a:t>Scannevin</a:t>
            </a:r>
            <a:r>
              <a:rPr lang="en-US" altLang="zh-CN" sz="800" dirty="0">
                <a:latin typeface="+mj-ea"/>
                <a:ea typeface="+mj-ea"/>
              </a:rPr>
              <a:t> RH et al. J </a:t>
            </a:r>
            <a:r>
              <a:rPr lang="en-US" altLang="zh-CN" sz="800" dirty="0" err="1">
                <a:latin typeface="+mj-ea"/>
                <a:ea typeface="+mj-ea"/>
              </a:rPr>
              <a:t>Pharmacol</a:t>
            </a:r>
            <a:r>
              <a:rPr lang="en-US" altLang="zh-CN" sz="800" dirty="0">
                <a:latin typeface="+mj-ea"/>
                <a:ea typeface="+mj-ea"/>
              </a:rPr>
              <a:t> Exp </a:t>
            </a:r>
            <a:r>
              <a:rPr lang="en-US" altLang="zh-CN" sz="800" dirty="0" err="1">
                <a:latin typeface="+mj-ea"/>
                <a:ea typeface="+mj-ea"/>
              </a:rPr>
              <a:t>Ther</a:t>
            </a:r>
            <a:r>
              <a:rPr lang="en-US" altLang="zh-CN" sz="800" dirty="0">
                <a:latin typeface="+mj-ea"/>
                <a:ea typeface="+mj-ea"/>
              </a:rPr>
              <a:t>. 2012;341:274-284</a:t>
            </a:r>
          </a:p>
          <a:p>
            <a:pPr>
              <a:lnSpc>
                <a:spcPct val="120000"/>
              </a:lnSpc>
            </a:pPr>
            <a:r>
              <a:rPr lang="en-US" altLang="zh-CN" sz="800" dirty="0">
                <a:latin typeface="+mj-ea"/>
                <a:ea typeface="+mj-ea"/>
              </a:rPr>
              <a:t>30.</a:t>
            </a:r>
            <a:r>
              <a:rPr lang="zh-CN" altLang="en-US" sz="800" dirty="0">
                <a:latin typeface="+mj-ea"/>
                <a:ea typeface="+mj-ea"/>
              </a:rPr>
              <a:t>李娜等</a:t>
            </a:r>
            <a:r>
              <a:rPr lang="en-US" altLang="zh-CN" sz="800" dirty="0">
                <a:latin typeface="+mj-ea"/>
                <a:ea typeface="+mj-ea"/>
              </a:rPr>
              <a:t>. </a:t>
            </a:r>
            <a:r>
              <a:rPr lang="zh-CN" altLang="en-US" sz="800" dirty="0">
                <a:latin typeface="+mj-ea"/>
                <a:ea typeface="+mj-ea"/>
              </a:rPr>
              <a:t>军事医学</a:t>
            </a:r>
            <a:r>
              <a:rPr lang="en-US" altLang="zh-CN" sz="800" dirty="0">
                <a:latin typeface="+mj-ea"/>
                <a:ea typeface="+mj-ea"/>
              </a:rPr>
              <a:t>, 2015, 39(11):881-883.                                                    31. </a:t>
            </a:r>
            <a:r>
              <a:rPr lang="en-US" altLang="zh-CN" sz="800" dirty="0" err="1">
                <a:latin typeface="+mj-ea"/>
                <a:ea typeface="+mj-ea"/>
              </a:rPr>
              <a:t>Ciotti</a:t>
            </a:r>
            <a:r>
              <a:rPr lang="en-US" altLang="zh-CN" sz="800" dirty="0">
                <a:latin typeface="+mj-ea"/>
                <a:ea typeface="+mj-ea"/>
              </a:rPr>
              <a:t> JR et al. </a:t>
            </a:r>
            <a:r>
              <a:rPr lang="en-US" altLang="zh-CN" sz="800" dirty="0" err="1">
                <a:latin typeface="+mj-ea"/>
                <a:ea typeface="+mj-ea"/>
              </a:rPr>
              <a:t>Mult</a:t>
            </a:r>
            <a:r>
              <a:rPr lang="en-US" altLang="zh-CN" sz="800" dirty="0">
                <a:latin typeface="+mj-ea"/>
                <a:ea typeface="+mj-ea"/>
              </a:rPr>
              <a:t> </a:t>
            </a:r>
            <a:r>
              <a:rPr lang="en-US" altLang="zh-CN" sz="800" dirty="0" err="1">
                <a:latin typeface="+mj-ea"/>
                <a:ea typeface="+mj-ea"/>
              </a:rPr>
              <a:t>Scler</a:t>
            </a:r>
            <a:r>
              <a:rPr lang="en-US" altLang="zh-CN" sz="800" dirty="0">
                <a:latin typeface="+mj-ea"/>
                <a:ea typeface="+mj-ea"/>
              </a:rPr>
              <a:t> </a:t>
            </a:r>
            <a:r>
              <a:rPr lang="en-US" altLang="zh-CN" sz="800" dirty="0" err="1">
                <a:latin typeface="+mj-ea"/>
                <a:ea typeface="+mj-ea"/>
              </a:rPr>
              <a:t>Relat</a:t>
            </a:r>
            <a:r>
              <a:rPr lang="en-US" altLang="zh-CN" sz="800" dirty="0">
                <a:latin typeface="+mj-ea"/>
                <a:ea typeface="+mj-ea"/>
              </a:rPr>
              <a:t> </a:t>
            </a:r>
            <a:r>
              <a:rPr lang="en-US" altLang="zh-CN" sz="800" dirty="0" err="1">
                <a:latin typeface="+mj-ea"/>
                <a:ea typeface="+mj-ea"/>
              </a:rPr>
              <a:t>Disord</a:t>
            </a:r>
            <a:r>
              <a:rPr lang="en-US" altLang="zh-CN" sz="800" dirty="0">
                <a:latin typeface="+mj-ea"/>
                <a:ea typeface="+mj-ea"/>
              </a:rPr>
              <a:t>. 2020 Oct;45:102439.</a:t>
            </a:r>
            <a:r>
              <a:rPr lang="zh-CN" altLang="en-US" sz="800" dirty="0">
                <a:latin typeface="+mj-ea"/>
                <a:ea typeface="+mj-ea"/>
              </a:rPr>
              <a:t>　</a:t>
            </a:r>
            <a:r>
              <a:rPr lang="en-US" altLang="zh-CN" sz="800" dirty="0">
                <a:solidFill>
                  <a:srgbClr val="242424"/>
                </a:solidFill>
                <a:effectLst/>
                <a:latin typeface="-apple-system"/>
              </a:rPr>
              <a:t> </a:t>
            </a:r>
            <a:r>
              <a:rPr lang="en-US" altLang="zh-CN" sz="800" dirty="0">
                <a:latin typeface="+mj-ea"/>
                <a:ea typeface="+mj-ea"/>
              </a:rPr>
              <a:t>32. </a:t>
            </a:r>
            <a:r>
              <a:rPr lang="en-US" altLang="zh-CN" sz="800" dirty="0" err="1">
                <a:latin typeface="+mj-ea"/>
                <a:ea typeface="+mj-ea"/>
              </a:rPr>
              <a:t>Monschein</a:t>
            </a:r>
            <a:r>
              <a:rPr lang="en-US" altLang="zh-CN" sz="800" dirty="0">
                <a:latin typeface="+mj-ea"/>
                <a:ea typeface="+mj-ea"/>
              </a:rPr>
              <a:t> T, et al. J Neurol </a:t>
            </a:r>
            <a:r>
              <a:rPr lang="en-US" altLang="zh-CN" sz="800" dirty="0" err="1">
                <a:latin typeface="+mj-ea"/>
                <a:ea typeface="+mj-ea"/>
              </a:rPr>
              <a:t>Neurosurg</a:t>
            </a:r>
            <a:r>
              <a:rPr lang="en-US" altLang="zh-CN" sz="800" dirty="0">
                <a:latin typeface="+mj-ea"/>
                <a:ea typeface="+mj-ea"/>
              </a:rPr>
              <a:t> Psychiatry 2021;92:1033–1043</a:t>
            </a:r>
          </a:p>
        </p:txBody>
      </p:sp>
      <p:sp>
        <p:nvSpPr>
          <p:cNvPr id="35" name="圆角矩形 15">
            <a:extLst>
              <a:ext uri="{FF2B5EF4-FFF2-40B4-BE49-F238E27FC236}">
                <a16:creationId xmlns:a16="http://schemas.microsoft.com/office/drawing/2014/main" id="{4D2FB4BF-9045-C084-7E3E-F97D9385BE15}"/>
              </a:ext>
            </a:extLst>
          </p:cNvPr>
          <p:cNvSpPr>
            <a:spLocks/>
          </p:cNvSpPr>
          <p:nvPr/>
        </p:nvSpPr>
        <p:spPr>
          <a:xfrm>
            <a:off x="456896" y="5141968"/>
            <a:ext cx="846774" cy="425223"/>
          </a:xfrm>
          <a:prstGeom prst="roundRect">
            <a:avLst>
              <a:gd name="adj" fmla="val 0"/>
            </a:avLst>
          </a:prstGeom>
          <a:solidFill>
            <a:srgbClr val="2473BA"/>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lnSpc>
                <a:spcPct val="150000"/>
              </a:lnSpc>
              <a:defRPr/>
            </a:pPr>
            <a:endParaRPr kumimoji="0" lang="en-US" altLang="zh-CN" sz="1400" b="1" i="0" u="none" strike="noStrike" kern="1200" cap="none" spc="0" normalizeH="0" baseline="0" noProof="0" dirty="0">
              <a:ln>
                <a:noFill/>
              </a:ln>
              <a:solidFill>
                <a:schemeClr val="accent6"/>
              </a:solidFill>
              <a:effectLst/>
              <a:uLnTx/>
              <a:uFillTx/>
              <a:latin typeface="Arial" panose="020B0604020202020204" pitchFamily="34" charset="0"/>
              <a:ea typeface="微软雅黑" panose="020B0503020204020204" pitchFamily="34" charset="-122"/>
              <a:cs typeface="+mn-cs"/>
            </a:endParaRPr>
          </a:p>
        </p:txBody>
      </p:sp>
      <p:sp>
        <p:nvSpPr>
          <p:cNvPr id="36" name="文本框 35">
            <a:extLst>
              <a:ext uri="{FF2B5EF4-FFF2-40B4-BE49-F238E27FC236}">
                <a16:creationId xmlns:a16="http://schemas.microsoft.com/office/drawing/2014/main" id="{4278BB3A-BDFC-28DB-843A-7B26F1F0A84F}"/>
              </a:ext>
            </a:extLst>
          </p:cNvPr>
          <p:cNvSpPr txBox="1"/>
          <p:nvPr/>
        </p:nvSpPr>
        <p:spPr>
          <a:xfrm>
            <a:off x="594588" y="5068448"/>
            <a:ext cx="718226" cy="499111"/>
          </a:xfrm>
          <a:prstGeom prst="rect">
            <a:avLst/>
          </a:prstGeom>
          <a:noFill/>
        </p:spPr>
        <p:txBody>
          <a:bodyPr wrap="square" anchor="t">
            <a:spAutoFit/>
          </a:bodyPr>
          <a:lstStyle/>
          <a:p>
            <a:pPr algn="ctr" defTabSz="913765">
              <a:lnSpc>
                <a:spcPct val="150000"/>
              </a:lnSpc>
              <a:defRPr/>
            </a:pPr>
            <a:r>
              <a:rPr lang="zh-CN" altLang="en-US" sz="2000" b="1" dirty="0">
                <a:solidFill>
                  <a:prstClr val="white"/>
                </a:solidFill>
                <a:latin typeface="Arial" panose="020B0604020202020204" pitchFamily="34" charset="0"/>
                <a:ea typeface="微软雅黑" panose="020B0503020204020204" pitchFamily="34" charset="-122"/>
              </a:rPr>
              <a:t>工艺：</a:t>
            </a:r>
          </a:p>
        </p:txBody>
      </p:sp>
    </p:spTree>
    <p:extLst>
      <p:ext uri="{BB962C8B-B14F-4D97-AF65-F5344CB8AC3E}">
        <p14:creationId xmlns:p14="http://schemas.microsoft.com/office/powerpoint/2010/main" val="4023221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1"/>
            </p:custDataLst>
            <p:extLst>
              <p:ext uri="{D42A27DB-BD31-4B8C-83A1-F6EECF244321}">
                <p14:modId xmlns:p14="http://schemas.microsoft.com/office/powerpoint/2010/main" val="4091864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95" imgH="396" progId="TCLayout.ActiveDocument.1">
                  <p:embed/>
                </p:oleObj>
              </mc:Choice>
              <mc:Fallback>
                <p:oleObj name="think-cell 幻灯片" r:id="rId4"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object 2">
            <a:extLst>
              <a:ext uri="{FF2B5EF4-FFF2-40B4-BE49-F238E27FC236}">
                <a16:creationId xmlns:a16="http://schemas.microsoft.com/office/drawing/2014/main" id="{9BC26614-5A48-11E0-3D53-FD33354D4936}"/>
              </a:ext>
            </a:extLst>
          </p:cNvPr>
          <p:cNvSpPr txBox="1"/>
          <p:nvPr/>
        </p:nvSpPr>
        <p:spPr>
          <a:xfrm>
            <a:off x="11832081" y="6487464"/>
            <a:ext cx="177800"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888888"/>
                </a:solidFill>
                <a:latin typeface="Times New Roman"/>
                <a:cs typeface="Times New Roman"/>
              </a:rPr>
              <a:t>31</a:t>
            </a:r>
            <a:endParaRPr sz="1200">
              <a:latin typeface="Times New Roman"/>
              <a:cs typeface="Times New Roman"/>
            </a:endParaRPr>
          </a:p>
        </p:txBody>
      </p:sp>
      <p:graphicFrame>
        <p:nvGraphicFramePr>
          <p:cNvPr id="29" name="表格 7">
            <a:extLst>
              <a:ext uri="{FF2B5EF4-FFF2-40B4-BE49-F238E27FC236}">
                <a16:creationId xmlns:a16="http://schemas.microsoft.com/office/drawing/2014/main" id="{F89F3387-D40F-14E6-910C-5F659FF53E3D}"/>
              </a:ext>
            </a:extLst>
          </p:cNvPr>
          <p:cNvGraphicFramePr>
            <a:graphicFrameLocks noGrp="1"/>
          </p:cNvGraphicFramePr>
          <p:nvPr>
            <p:extLst>
              <p:ext uri="{D42A27DB-BD31-4B8C-83A1-F6EECF244321}">
                <p14:modId xmlns:p14="http://schemas.microsoft.com/office/powerpoint/2010/main" val="2530034523"/>
              </p:ext>
            </p:extLst>
          </p:nvPr>
        </p:nvGraphicFramePr>
        <p:xfrm>
          <a:off x="459864" y="3288028"/>
          <a:ext cx="8517486" cy="2800230"/>
        </p:xfrm>
        <a:graphic>
          <a:graphicData uri="http://schemas.openxmlformats.org/drawingml/2006/table">
            <a:tbl>
              <a:tblPr firstRow="1" bandRow="1">
                <a:tableStyleId>{93296810-A885-4BE3-A3E7-6D5BEEA58F35}</a:tableStyleId>
              </a:tblPr>
              <a:tblGrid>
                <a:gridCol w="1689482">
                  <a:extLst>
                    <a:ext uri="{9D8B030D-6E8A-4147-A177-3AD203B41FA5}">
                      <a16:colId xmlns:a16="http://schemas.microsoft.com/office/drawing/2014/main" val="3656842944"/>
                    </a:ext>
                  </a:extLst>
                </a:gridCol>
                <a:gridCol w="2014832">
                  <a:extLst>
                    <a:ext uri="{9D8B030D-6E8A-4147-A177-3AD203B41FA5}">
                      <a16:colId xmlns:a16="http://schemas.microsoft.com/office/drawing/2014/main" val="1919897516"/>
                    </a:ext>
                  </a:extLst>
                </a:gridCol>
                <a:gridCol w="1741284">
                  <a:extLst>
                    <a:ext uri="{9D8B030D-6E8A-4147-A177-3AD203B41FA5}">
                      <a16:colId xmlns:a16="http://schemas.microsoft.com/office/drawing/2014/main" val="3869295406"/>
                    </a:ext>
                  </a:extLst>
                </a:gridCol>
                <a:gridCol w="3071888">
                  <a:extLst>
                    <a:ext uri="{9D8B030D-6E8A-4147-A177-3AD203B41FA5}">
                      <a16:colId xmlns:a16="http://schemas.microsoft.com/office/drawing/2014/main" val="3595259892"/>
                    </a:ext>
                  </a:extLst>
                </a:gridCol>
              </a:tblGrid>
              <a:tr h="550687">
                <a:tc>
                  <a:txBody>
                    <a:bodyPr/>
                    <a:lstStyle/>
                    <a:p>
                      <a:pPr algn="ctr">
                        <a:lnSpc>
                          <a:spcPct val="100000"/>
                        </a:lnSpc>
                        <a:spcBef>
                          <a:spcPts val="270"/>
                        </a:spcBef>
                      </a:pPr>
                      <a:r>
                        <a:rPr sz="1200" b="1" spc="10" dirty="0">
                          <a:latin typeface="Noto Sans CJK JP Medium"/>
                          <a:cs typeface="Noto Sans CJK JP Medium"/>
                        </a:rPr>
                        <a:t>药品</a:t>
                      </a:r>
                      <a:r>
                        <a:rPr sz="1200" b="1" dirty="0">
                          <a:latin typeface="Noto Sans CJK JP Medium"/>
                          <a:cs typeface="Noto Sans CJK JP Medium"/>
                        </a:rPr>
                        <a:t>名称</a:t>
                      </a:r>
                    </a:p>
                  </a:txBody>
                  <a:tcPr marL="0" marR="0" marT="34290" marB="0" anchor="ctr">
                    <a:solidFill>
                      <a:srgbClr val="2473BA"/>
                    </a:solidFill>
                  </a:tcPr>
                </a:tc>
                <a:tc>
                  <a:txBody>
                    <a:bodyPr/>
                    <a:lstStyle/>
                    <a:p>
                      <a:pPr marL="0" algn="ctr" defTabSz="914400" rtl="0" eaLnBrk="1" latinLnBrk="0" hangingPunct="1">
                        <a:lnSpc>
                          <a:spcPct val="100000"/>
                        </a:lnSpc>
                        <a:spcBef>
                          <a:spcPts val="270"/>
                        </a:spcBef>
                      </a:pPr>
                      <a:r>
                        <a:rPr lang="zh-CN" altLang="en-US" sz="1200" b="1" kern="1200" spc="10" dirty="0">
                          <a:solidFill>
                            <a:srgbClr val="FFFFFF"/>
                          </a:solidFill>
                          <a:latin typeface="Noto Sans CJK JP Medium"/>
                          <a:ea typeface="+mn-ea"/>
                          <a:cs typeface="Noto Sans CJK JP Medium"/>
                        </a:rPr>
                        <a:t>肝</a:t>
                      </a:r>
                      <a:r>
                        <a:rPr lang="en-US" altLang="zh-CN" sz="1200" b="1" kern="1200" spc="10" dirty="0">
                          <a:solidFill>
                            <a:srgbClr val="FFFFFF"/>
                          </a:solidFill>
                          <a:latin typeface="Noto Sans CJK JP Medium"/>
                          <a:ea typeface="+mn-ea"/>
                          <a:cs typeface="Noto Sans CJK JP Medium"/>
                        </a:rPr>
                        <a:t>/</a:t>
                      </a:r>
                      <a:r>
                        <a:rPr lang="zh-CN" altLang="en-US" sz="1200" b="1" kern="1200" spc="10" dirty="0">
                          <a:solidFill>
                            <a:srgbClr val="FFFFFF"/>
                          </a:solidFill>
                          <a:latin typeface="Noto Sans CJK JP Medium"/>
                          <a:ea typeface="+mn-ea"/>
                          <a:cs typeface="Noto Sans CJK JP Medium"/>
                        </a:rPr>
                        <a:t>肾损患者</a:t>
                      </a:r>
                      <a:endParaRPr lang="en-US" altLang="zh-CN" sz="1200" b="1" kern="1200" spc="10" dirty="0">
                        <a:solidFill>
                          <a:srgbClr val="FFFFFF"/>
                        </a:solidFill>
                        <a:latin typeface="Noto Sans CJK JP Medium"/>
                        <a:ea typeface="+mn-ea"/>
                        <a:cs typeface="Noto Sans CJK JP Medium"/>
                      </a:endParaRPr>
                    </a:p>
                    <a:p>
                      <a:pPr marL="0" algn="ctr" defTabSz="914400" rtl="0" eaLnBrk="1" latinLnBrk="0" hangingPunct="1">
                        <a:lnSpc>
                          <a:spcPct val="100000"/>
                        </a:lnSpc>
                        <a:spcBef>
                          <a:spcPts val="270"/>
                        </a:spcBef>
                      </a:pPr>
                      <a:r>
                        <a:rPr lang="zh-CN" altLang="en-US" sz="1200" b="1" kern="1200" spc="10" dirty="0">
                          <a:solidFill>
                            <a:srgbClr val="FFFFFF"/>
                          </a:solidFill>
                          <a:latin typeface="Noto Sans CJK JP Medium"/>
                          <a:ea typeface="+mn-ea"/>
                          <a:cs typeface="Noto Sans CJK JP Medium"/>
                        </a:rPr>
                        <a:t>是否需调整剂量 </a:t>
                      </a:r>
                      <a:r>
                        <a:rPr lang="zh-CN" altLang="en-US" sz="1200" b="1" kern="1200" spc="10" baseline="30000" dirty="0">
                          <a:solidFill>
                            <a:srgbClr val="FFFFFF"/>
                          </a:solidFill>
                          <a:latin typeface="Noto Sans CJK JP Medium"/>
                          <a:ea typeface="+mn-ea"/>
                          <a:cs typeface="Noto Sans CJK JP Medium"/>
                        </a:rPr>
                        <a:t>说明书</a:t>
                      </a:r>
                      <a:endParaRPr sz="1200" b="1" kern="1200" spc="10" baseline="30000" dirty="0">
                        <a:solidFill>
                          <a:srgbClr val="FFFFFF"/>
                        </a:solidFill>
                        <a:latin typeface="Noto Sans CJK JP Medium"/>
                        <a:ea typeface="+mn-ea"/>
                        <a:cs typeface="Noto Sans CJK JP Medium"/>
                      </a:endParaRPr>
                    </a:p>
                  </a:txBody>
                  <a:tcPr marL="0" marR="0" marT="34290" marB="0" anchor="ctr">
                    <a:solidFill>
                      <a:srgbClr val="2473BA"/>
                    </a:solidFill>
                  </a:tcPr>
                </a:tc>
                <a:tc>
                  <a:txBody>
                    <a:bodyPr/>
                    <a:lstStyle/>
                    <a:p>
                      <a:pPr algn="ctr">
                        <a:lnSpc>
                          <a:spcPct val="100000"/>
                        </a:lnSpc>
                      </a:pPr>
                      <a:r>
                        <a:rPr lang="zh-CN" altLang="en-US" sz="1200" b="1" kern="1200" spc="10" dirty="0">
                          <a:solidFill>
                            <a:srgbClr val="FFFFFF"/>
                          </a:solidFill>
                          <a:latin typeface="Noto Sans CJK JP Medium"/>
                          <a:ea typeface="+mn-ea"/>
                          <a:cs typeface="+mn-cs"/>
                        </a:rPr>
                        <a:t>有效期 </a:t>
                      </a:r>
                      <a:r>
                        <a:rPr lang="zh-CN" altLang="en-US" sz="1200" b="1" kern="1200" spc="10" baseline="30000" dirty="0">
                          <a:solidFill>
                            <a:srgbClr val="FFFFFF"/>
                          </a:solidFill>
                          <a:latin typeface="Noto Sans CJK JP Medium"/>
                          <a:ea typeface="+mn-ea"/>
                          <a:cs typeface="+mn-cs"/>
                        </a:rPr>
                        <a:t>说明书</a:t>
                      </a:r>
                      <a:r>
                        <a:rPr lang="zh-CN" altLang="en-US" sz="1200" b="1" kern="1200" spc="10" dirty="0">
                          <a:solidFill>
                            <a:srgbClr val="FFFFFF"/>
                          </a:solidFill>
                          <a:latin typeface="Noto Sans CJK JP Medium"/>
                          <a:ea typeface="+mn-ea"/>
                          <a:cs typeface="+mn-cs"/>
                        </a:rPr>
                        <a:t>（月）</a:t>
                      </a:r>
                    </a:p>
                  </a:txBody>
                  <a:tcPr anchor="ctr">
                    <a:solidFill>
                      <a:srgbClr val="2473BA"/>
                    </a:solidFill>
                  </a:tcPr>
                </a:tc>
                <a:tc>
                  <a:txBody>
                    <a:bodyPr/>
                    <a:lstStyle/>
                    <a:p>
                      <a:pPr algn="ctr">
                        <a:lnSpc>
                          <a:spcPct val="100000"/>
                        </a:lnSpc>
                      </a:pPr>
                      <a:r>
                        <a:rPr lang="zh-CN" altLang="en-US" sz="1200" b="1" kern="1200" spc="10" dirty="0">
                          <a:solidFill>
                            <a:srgbClr val="FFFFFF"/>
                          </a:solidFill>
                          <a:latin typeface="Noto Sans CJK JP Medium"/>
                          <a:ea typeface="+mn-ea"/>
                          <a:cs typeface="+mn-cs"/>
                        </a:rPr>
                        <a:t>贮藏 </a:t>
                      </a:r>
                      <a:r>
                        <a:rPr lang="zh-CN" altLang="en-US" sz="1200" b="1" kern="1200" spc="10" baseline="30000" dirty="0">
                          <a:solidFill>
                            <a:srgbClr val="FFFFFF"/>
                          </a:solidFill>
                          <a:latin typeface="Noto Sans CJK JP Medium"/>
                          <a:ea typeface="+mn-ea"/>
                          <a:cs typeface="+mn-cs"/>
                        </a:rPr>
                        <a:t>说明书</a:t>
                      </a:r>
                      <a:endParaRPr lang="zh-CN" altLang="en-US" sz="1200" b="1" kern="1200" spc="10" dirty="0">
                        <a:solidFill>
                          <a:srgbClr val="FFFFFF"/>
                        </a:solidFill>
                        <a:latin typeface="Noto Sans CJK JP Medium"/>
                        <a:ea typeface="+mn-ea"/>
                        <a:cs typeface="+mn-cs"/>
                      </a:endParaRPr>
                    </a:p>
                  </a:txBody>
                  <a:tcPr anchor="ctr">
                    <a:solidFill>
                      <a:srgbClr val="2473BA"/>
                    </a:solidFill>
                  </a:tcPr>
                </a:tc>
                <a:extLst>
                  <a:ext uri="{0D108BD9-81ED-4DB2-BD59-A6C34878D82A}">
                    <a16:rowId xmlns:a16="http://schemas.microsoft.com/office/drawing/2014/main" val="3780781357"/>
                  </a:ext>
                </a:extLst>
              </a:tr>
              <a:tr h="411753">
                <a:tc>
                  <a:txBody>
                    <a:bodyPr/>
                    <a:lstStyle/>
                    <a:p>
                      <a:pPr algn="ctr">
                        <a:lnSpc>
                          <a:spcPct val="100000"/>
                        </a:lnSpc>
                        <a:spcBef>
                          <a:spcPts val="270"/>
                        </a:spcBef>
                      </a:pPr>
                      <a:r>
                        <a:rPr sz="1100" dirty="0" err="1">
                          <a:latin typeface="Noto Serif CJK JP"/>
                          <a:cs typeface="Noto Serif CJK JP"/>
                        </a:rPr>
                        <a:t>富马酸二甲酯</a:t>
                      </a:r>
                      <a:r>
                        <a:rPr lang="zh-CN" altLang="en-US" sz="1100" dirty="0">
                          <a:latin typeface="Noto Serif CJK JP"/>
                          <a:cs typeface="Noto Serif CJK JP"/>
                        </a:rPr>
                        <a:t> </a:t>
                      </a:r>
                      <a:endParaRPr sz="1100" dirty="0">
                        <a:latin typeface="Noto Serif CJK JP"/>
                        <a:cs typeface="Noto Serif CJK JP"/>
                      </a:endParaRPr>
                    </a:p>
                  </a:txBody>
                  <a:tcPr marL="0" marR="0" marT="34290" marB="0" anchor="ctr">
                    <a:solidFill>
                      <a:srgbClr val="D2E5F6"/>
                    </a:solidFill>
                  </a:tcPr>
                </a:tc>
                <a:tc>
                  <a:txBody>
                    <a:bodyPr/>
                    <a:lstStyle/>
                    <a:p>
                      <a:pPr marL="0" algn="ctr" defTabSz="914400" rtl="0" eaLnBrk="1" latinLnBrk="0" hangingPunct="1">
                        <a:lnSpc>
                          <a:spcPct val="100000"/>
                        </a:lnSpc>
                        <a:spcBef>
                          <a:spcPts val="320"/>
                        </a:spcBef>
                      </a:pPr>
                      <a:r>
                        <a:rPr lang="zh-CN" altLang="en-US" sz="1100" kern="1200" dirty="0">
                          <a:solidFill>
                            <a:srgbClr val="C00000"/>
                          </a:solidFill>
                          <a:latin typeface="Noto Serif CJK JP"/>
                          <a:ea typeface="+mn-ea"/>
                          <a:cs typeface="Times New Roman"/>
                        </a:rPr>
                        <a:t>无需 </a:t>
                      </a:r>
                      <a:endParaRPr sz="1100" kern="1200" dirty="0">
                        <a:solidFill>
                          <a:srgbClr val="C00000"/>
                        </a:solidFill>
                        <a:latin typeface="Noto Serif CJK JP"/>
                        <a:ea typeface="+mn-ea"/>
                        <a:cs typeface="Times New Roman"/>
                      </a:endParaRPr>
                    </a:p>
                  </a:txBody>
                  <a:tcPr marL="0" marR="0" marT="34290" marB="0" anchor="ctr">
                    <a:solidFill>
                      <a:srgbClr val="D2E5F6"/>
                    </a:solidFill>
                  </a:tcPr>
                </a:tc>
                <a:tc>
                  <a:txBody>
                    <a:bodyPr/>
                    <a:lstStyle/>
                    <a:p>
                      <a:pPr marL="0" marR="115570" indent="0" algn="ctr" defTabSz="914400" rtl="0" eaLnBrk="1" latinLnBrk="0" hangingPunct="1">
                        <a:lnSpc>
                          <a:spcPct val="100000"/>
                        </a:lnSpc>
                        <a:spcBef>
                          <a:spcPts val="320"/>
                        </a:spcBef>
                        <a:buFont typeface="Arial" panose="020B0604020202020204" pitchFamily="34" charset="0"/>
                        <a:buNone/>
                      </a:pPr>
                      <a:r>
                        <a:rPr lang="en-US" altLang="zh-CN" sz="1100" kern="1200" dirty="0">
                          <a:solidFill>
                            <a:srgbClr val="C00000"/>
                          </a:solidFill>
                          <a:latin typeface="Noto Serif CJK JP"/>
                          <a:ea typeface="+mn-ea"/>
                          <a:cs typeface="Times New Roman"/>
                        </a:rPr>
                        <a:t>   48</a:t>
                      </a:r>
                      <a:endParaRPr lang="zh-CN" altLang="en-US" sz="1100" kern="1200" dirty="0">
                        <a:solidFill>
                          <a:srgbClr val="C00000"/>
                        </a:solidFill>
                        <a:latin typeface="Noto Serif CJK JP"/>
                        <a:ea typeface="+mn-ea"/>
                        <a:cs typeface="Times New Roman"/>
                      </a:endParaRPr>
                    </a:p>
                  </a:txBody>
                  <a:tcPr anchor="ctr">
                    <a:solidFill>
                      <a:srgbClr val="D2E5F6"/>
                    </a:solidFill>
                  </a:tcPr>
                </a:tc>
                <a:tc>
                  <a:txBody>
                    <a:bodyPr/>
                    <a:lstStyle/>
                    <a:p>
                      <a:pPr marL="0" marR="115570" indent="0" algn="ctr" defTabSz="914400" rtl="0" eaLnBrk="1" latinLnBrk="0" hangingPunct="1">
                        <a:lnSpc>
                          <a:spcPct val="100000"/>
                        </a:lnSpc>
                        <a:spcBef>
                          <a:spcPts val="320"/>
                        </a:spcBef>
                        <a:buFont typeface="Arial" panose="020B0604020202020204" pitchFamily="34" charset="0"/>
                        <a:buNone/>
                      </a:pPr>
                      <a:r>
                        <a:rPr lang="zh-CN" altLang="en-US" sz="1100" kern="1200" dirty="0">
                          <a:solidFill>
                            <a:srgbClr val="C00000"/>
                          </a:solidFill>
                          <a:latin typeface="Noto Serif CJK JP"/>
                          <a:ea typeface="+mn-ea"/>
                          <a:cs typeface="Times New Roman"/>
                        </a:rPr>
                        <a:t> </a:t>
                      </a:r>
                      <a:r>
                        <a:rPr lang="en-US" altLang="zh-CN" sz="1100" kern="1200" dirty="0">
                          <a:solidFill>
                            <a:srgbClr val="C00000"/>
                          </a:solidFill>
                          <a:latin typeface="Noto Serif CJK JP"/>
                          <a:ea typeface="+mn-ea"/>
                          <a:cs typeface="Times New Roman"/>
                        </a:rPr>
                        <a:t>30℃</a:t>
                      </a:r>
                      <a:r>
                        <a:rPr lang="zh-CN" altLang="en-US" sz="1100" kern="1200" dirty="0">
                          <a:solidFill>
                            <a:srgbClr val="C00000"/>
                          </a:solidFill>
                          <a:latin typeface="Noto Serif CJK JP"/>
                          <a:ea typeface="+mn-ea"/>
                          <a:cs typeface="Times New Roman"/>
                        </a:rPr>
                        <a:t>以下</a:t>
                      </a:r>
                    </a:p>
                  </a:txBody>
                  <a:tcPr anchor="ctr">
                    <a:solidFill>
                      <a:srgbClr val="D2E5F6"/>
                    </a:solidFill>
                  </a:tcPr>
                </a:tc>
                <a:extLst>
                  <a:ext uri="{0D108BD9-81ED-4DB2-BD59-A6C34878D82A}">
                    <a16:rowId xmlns:a16="http://schemas.microsoft.com/office/drawing/2014/main" val="3996067537"/>
                  </a:ext>
                </a:extLst>
              </a:tr>
              <a:tr h="426948">
                <a:tc>
                  <a:txBody>
                    <a:bodyPr/>
                    <a:lstStyle/>
                    <a:p>
                      <a:pPr algn="ctr">
                        <a:lnSpc>
                          <a:spcPct val="100000"/>
                        </a:lnSpc>
                        <a:spcBef>
                          <a:spcPts val="270"/>
                        </a:spcBef>
                      </a:pPr>
                      <a:r>
                        <a:rPr lang="zh-CN" altLang="en-US" sz="1100" dirty="0">
                          <a:latin typeface="Noto Serif CJK JP"/>
                          <a:cs typeface="Noto Serif CJK JP"/>
                        </a:rPr>
                        <a:t>奥法妥木单抗</a:t>
                      </a:r>
                      <a:endParaRPr sz="1100" dirty="0">
                        <a:latin typeface="Noto Serif CJK JP"/>
                        <a:cs typeface="Noto Serif CJK JP"/>
                      </a:endParaRPr>
                    </a:p>
                  </a:txBody>
                  <a:tcPr marL="0" marR="0" marT="34290" marB="0" anchor="ctr">
                    <a:solidFill>
                      <a:srgbClr val="EEF5FC"/>
                    </a:solidFill>
                  </a:tcPr>
                </a:tc>
                <a:tc>
                  <a:txBody>
                    <a:bodyPr/>
                    <a:lstStyle/>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无需</a:t>
                      </a:r>
                      <a:endParaRPr lang="en-US" altLang="zh-CN" sz="1100" kern="1200" dirty="0">
                        <a:solidFill>
                          <a:schemeClr val="tx1"/>
                        </a:solidFill>
                        <a:latin typeface="Noto Serif CJK JP"/>
                        <a:ea typeface="+mn-ea"/>
                        <a:cs typeface="Times New Roman"/>
                      </a:endParaRPr>
                    </a:p>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活动性乙肝患者禁用）</a:t>
                      </a:r>
                      <a:endParaRPr sz="1100" kern="1200" dirty="0">
                        <a:solidFill>
                          <a:schemeClr val="tx1"/>
                        </a:solidFill>
                        <a:latin typeface="Noto Serif CJK JP"/>
                        <a:ea typeface="+mn-ea"/>
                        <a:cs typeface="Times New Roman"/>
                      </a:endParaRPr>
                    </a:p>
                  </a:txBody>
                  <a:tcPr marL="0" marR="0" marT="34290" marB="0" anchor="ctr">
                    <a:solidFill>
                      <a:srgbClr val="EEF5FC"/>
                    </a:solidFill>
                  </a:tcPr>
                </a:tc>
                <a:tc>
                  <a:txBody>
                    <a:bodyPr/>
                    <a:lstStyle/>
                    <a:p>
                      <a:pPr algn="ctr">
                        <a:lnSpc>
                          <a:spcPct val="100000"/>
                        </a:lnSpc>
                      </a:pPr>
                      <a:r>
                        <a:rPr lang="en-US" altLang="zh-CN" sz="1100" kern="1200" dirty="0">
                          <a:solidFill>
                            <a:schemeClr val="dk1"/>
                          </a:solidFill>
                          <a:latin typeface="Noto Serif CJK JP"/>
                          <a:ea typeface="+mn-ea"/>
                        </a:rPr>
                        <a:t>24</a:t>
                      </a:r>
                      <a:endParaRPr lang="zh-CN" altLang="en-US" sz="1100" kern="1200" dirty="0">
                        <a:solidFill>
                          <a:schemeClr val="dk1"/>
                        </a:solidFill>
                        <a:latin typeface="Noto Serif CJK JP"/>
                        <a:ea typeface="+mn-ea"/>
                      </a:endParaRPr>
                    </a:p>
                  </a:txBody>
                  <a:tcPr anchor="ctr">
                    <a:solidFill>
                      <a:srgbClr val="EEF5FC"/>
                    </a:solidFill>
                  </a:tcPr>
                </a:tc>
                <a:tc>
                  <a:txBody>
                    <a:bodyPr/>
                    <a:lstStyle/>
                    <a:p>
                      <a:pPr algn="ctr">
                        <a:lnSpc>
                          <a:spcPct val="100000"/>
                        </a:lnSpc>
                      </a:pPr>
                      <a:r>
                        <a:rPr lang="en-US" altLang="zh-CN" sz="1100" kern="1200" dirty="0">
                          <a:solidFill>
                            <a:schemeClr val="dk1"/>
                          </a:solidFill>
                          <a:latin typeface="Noto Serif CJK JP"/>
                          <a:ea typeface="+mn-ea"/>
                        </a:rPr>
                        <a:t>2 °C - 8 °C</a:t>
                      </a:r>
                      <a:r>
                        <a:rPr lang="zh-CN" altLang="en-US" sz="1100" kern="1200" dirty="0">
                          <a:solidFill>
                            <a:schemeClr val="dk1"/>
                          </a:solidFill>
                          <a:latin typeface="Noto Serif CJK JP"/>
                          <a:ea typeface="+mn-ea"/>
                        </a:rPr>
                        <a:t>下保存和运输 </a:t>
                      </a:r>
                    </a:p>
                  </a:txBody>
                  <a:tcPr anchor="ctr">
                    <a:solidFill>
                      <a:srgbClr val="EEF5FC"/>
                    </a:solidFill>
                  </a:tcPr>
                </a:tc>
                <a:extLst>
                  <a:ext uri="{0D108BD9-81ED-4DB2-BD59-A6C34878D82A}">
                    <a16:rowId xmlns:a16="http://schemas.microsoft.com/office/drawing/2014/main" val="555095855"/>
                  </a:ext>
                </a:extLst>
              </a:tr>
              <a:tr h="475015">
                <a:tc>
                  <a:txBody>
                    <a:bodyPr/>
                    <a:lstStyle/>
                    <a:p>
                      <a:pPr algn="ctr">
                        <a:lnSpc>
                          <a:spcPct val="100000"/>
                        </a:lnSpc>
                        <a:spcBef>
                          <a:spcPts val="270"/>
                        </a:spcBef>
                      </a:pPr>
                      <a:r>
                        <a:rPr sz="1100" dirty="0" err="1">
                          <a:latin typeface="Noto Serif CJK JP"/>
                          <a:cs typeface="Noto Serif CJK JP"/>
                        </a:rPr>
                        <a:t>芬戈莫德</a:t>
                      </a:r>
                      <a:endParaRPr sz="1100" dirty="0">
                        <a:latin typeface="Noto Serif CJK JP"/>
                        <a:cs typeface="Noto Serif CJK JP"/>
                      </a:endParaRPr>
                    </a:p>
                  </a:txBody>
                  <a:tcPr marL="0" marR="0" marT="34290" marB="0" anchor="ctr">
                    <a:solidFill>
                      <a:srgbClr val="D2E5F6"/>
                    </a:solidFill>
                  </a:tcPr>
                </a:tc>
                <a:tc>
                  <a:txBody>
                    <a:bodyPr/>
                    <a:lstStyle/>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需要</a:t>
                      </a:r>
                      <a:endParaRPr lang="en-US" altLang="zh-CN" sz="1100" kern="1200" dirty="0">
                        <a:solidFill>
                          <a:schemeClr val="tx1"/>
                        </a:solidFill>
                        <a:latin typeface="Noto Serif CJK JP"/>
                        <a:ea typeface="+mn-ea"/>
                        <a:cs typeface="Times New Roman"/>
                      </a:endParaRPr>
                    </a:p>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重度肝损禁用）</a:t>
                      </a:r>
                      <a:endParaRPr sz="1100" kern="1200" dirty="0">
                        <a:solidFill>
                          <a:schemeClr val="tx1"/>
                        </a:solidFill>
                        <a:latin typeface="Noto Serif CJK JP"/>
                        <a:ea typeface="+mn-ea"/>
                        <a:cs typeface="Times New Roman"/>
                      </a:endParaRPr>
                    </a:p>
                  </a:txBody>
                  <a:tcPr marL="0" marR="0" marT="34290" marB="0" anchor="ctr">
                    <a:solidFill>
                      <a:srgbClr val="D2E5F6"/>
                    </a:solidFill>
                  </a:tcPr>
                </a:tc>
                <a:tc>
                  <a:txBody>
                    <a:bodyPr/>
                    <a:lstStyle/>
                    <a:p>
                      <a:pPr algn="ctr">
                        <a:lnSpc>
                          <a:spcPct val="100000"/>
                        </a:lnSpc>
                      </a:pPr>
                      <a:r>
                        <a:rPr lang="en-US" altLang="zh-CN" sz="1100" kern="1200" dirty="0">
                          <a:solidFill>
                            <a:schemeClr val="dk1"/>
                          </a:solidFill>
                          <a:latin typeface="Noto Serif CJK JP"/>
                          <a:ea typeface="+mn-ea"/>
                        </a:rPr>
                        <a:t>24</a:t>
                      </a:r>
                      <a:endParaRPr lang="zh-CN" altLang="en-US" sz="1100" kern="1200" dirty="0">
                        <a:solidFill>
                          <a:schemeClr val="dk1"/>
                        </a:solidFill>
                        <a:latin typeface="Noto Serif CJK JP"/>
                        <a:ea typeface="+mn-ea"/>
                      </a:endParaRPr>
                    </a:p>
                  </a:txBody>
                  <a:tcPr anchor="ctr">
                    <a:solidFill>
                      <a:srgbClr val="D2E5F6"/>
                    </a:solidFill>
                  </a:tcPr>
                </a:tc>
                <a:tc>
                  <a:txBody>
                    <a:bodyPr/>
                    <a:lstStyle/>
                    <a:p>
                      <a:pPr algn="ctr">
                        <a:lnSpc>
                          <a:spcPct val="100000"/>
                        </a:lnSpc>
                      </a:pPr>
                      <a:r>
                        <a:rPr lang="en-US" altLang="zh-CN" sz="1100" kern="1200" dirty="0">
                          <a:solidFill>
                            <a:schemeClr val="dk1"/>
                          </a:solidFill>
                          <a:latin typeface="Noto Serif CJK JP"/>
                          <a:ea typeface="+mn-ea"/>
                        </a:rPr>
                        <a:t>25℃</a:t>
                      </a:r>
                      <a:r>
                        <a:rPr lang="zh-CN" altLang="en-US" sz="1100" kern="1200" dirty="0">
                          <a:solidFill>
                            <a:schemeClr val="dk1"/>
                          </a:solidFill>
                          <a:latin typeface="Noto Serif CJK JP"/>
                          <a:ea typeface="+mn-ea"/>
                        </a:rPr>
                        <a:t>以下</a:t>
                      </a:r>
                      <a:endParaRPr lang="en-US" altLang="zh-CN" sz="1100" kern="1200" dirty="0">
                        <a:solidFill>
                          <a:schemeClr val="dk1"/>
                        </a:solidFill>
                        <a:latin typeface="Noto Serif CJK JP"/>
                        <a:ea typeface="+mn-ea"/>
                      </a:endParaRPr>
                    </a:p>
                  </a:txBody>
                  <a:tcPr anchor="ctr">
                    <a:solidFill>
                      <a:srgbClr val="D2E5F6"/>
                    </a:solidFill>
                  </a:tcPr>
                </a:tc>
                <a:extLst>
                  <a:ext uri="{0D108BD9-81ED-4DB2-BD59-A6C34878D82A}">
                    <a16:rowId xmlns:a16="http://schemas.microsoft.com/office/drawing/2014/main" val="3969321504"/>
                  </a:ext>
                </a:extLst>
              </a:tr>
              <a:tr h="508879">
                <a:tc>
                  <a:txBody>
                    <a:bodyPr/>
                    <a:lstStyle/>
                    <a:p>
                      <a:pPr marL="635" algn="ctr">
                        <a:lnSpc>
                          <a:spcPct val="100000"/>
                        </a:lnSpc>
                        <a:spcBef>
                          <a:spcPts val="270"/>
                        </a:spcBef>
                      </a:pPr>
                      <a:r>
                        <a:rPr sz="1100" dirty="0" err="1">
                          <a:latin typeface="Noto Serif CJK JP"/>
                          <a:cs typeface="Noto Serif CJK JP"/>
                        </a:rPr>
                        <a:t>西尼莫德</a:t>
                      </a:r>
                      <a:endParaRPr sz="1100" dirty="0">
                        <a:latin typeface="Noto Serif CJK JP"/>
                        <a:cs typeface="Noto Serif CJK JP"/>
                      </a:endParaRPr>
                    </a:p>
                  </a:txBody>
                  <a:tcPr marL="0" marR="0" marT="34290" marB="0" anchor="ctr">
                    <a:solidFill>
                      <a:srgbClr val="EEF5FC"/>
                    </a:solidFill>
                  </a:tcPr>
                </a:tc>
                <a:tc>
                  <a:txBody>
                    <a:bodyPr/>
                    <a:lstStyle/>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无需</a:t>
                      </a:r>
                      <a:endParaRPr lang="en-US" altLang="zh-CN" sz="1100" kern="1200" dirty="0">
                        <a:solidFill>
                          <a:schemeClr val="tx1"/>
                        </a:solidFill>
                        <a:latin typeface="Noto Serif CJK JP"/>
                        <a:ea typeface="+mn-ea"/>
                        <a:cs typeface="Times New Roman"/>
                      </a:endParaRPr>
                    </a:p>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重度肝损</a:t>
                      </a:r>
                      <a:r>
                        <a:rPr lang="en-US" altLang="zh-CN" sz="1100" kern="1200" dirty="0">
                          <a:solidFill>
                            <a:schemeClr val="tx1"/>
                          </a:solidFill>
                          <a:latin typeface="Noto Serif CJK JP"/>
                          <a:ea typeface="+mn-ea"/>
                          <a:cs typeface="Times New Roman"/>
                        </a:rPr>
                        <a:t>AUC</a:t>
                      </a:r>
                      <a:r>
                        <a:rPr lang="zh-CN" altLang="en-US" sz="1100" kern="1200" dirty="0">
                          <a:solidFill>
                            <a:schemeClr val="tx1"/>
                          </a:solidFill>
                          <a:latin typeface="Noto Serif CJK JP"/>
                          <a:ea typeface="+mn-ea"/>
                          <a:cs typeface="Times New Roman"/>
                        </a:rPr>
                        <a:t>增加</a:t>
                      </a:r>
                      <a:r>
                        <a:rPr lang="en-US" altLang="zh-CN" sz="1100" kern="1200" dirty="0">
                          <a:solidFill>
                            <a:schemeClr val="tx1"/>
                          </a:solidFill>
                          <a:latin typeface="Noto Serif CJK JP"/>
                          <a:ea typeface="+mn-ea"/>
                          <a:cs typeface="Times New Roman"/>
                        </a:rPr>
                        <a:t>50%</a:t>
                      </a:r>
                      <a:r>
                        <a:rPr lang="zh-CN" altLang="en-US" sz="1100" kern="1200" dirty="0">
                          <a:solidFill>
                            <a:schemeClr val="tx1"/>
                          </a:solidFill>
                          <a:latin typeface="Noto Serif CJK JP"/>
                          <a:ea typeface="+mn-ea"/>
                          <a:cs typeface="Times New Roman"/>
                        </a:rPr>
                        <a:t>）</a:t>
                      </a:r>
                      <a:endParaRPr sz="1100" kern="1200" dirty="0">
                        <a:solidFill>
                          <a:schemeClr val="tx1"/>
                        </a:solidFill>
                        <a:latin typeface="Noto Serif CJK JP"/>
                        <a:ea typeface="+mn-ea"/>
                        <a:cs typeface="Times New Roman"/>
                      </a:endParaRPr>
                    </a:p>
                  </a:txBody>
                  <a:tcPr marL="0" marR="0" marT="34290" marB="0" anchor="ctr">
                    <a:solidFill>
                      <a:srgbClr val="EEF5FC"/>
                    </a:solidFill>
                  </a:tcPr>
                </a:tc>
                <a:tc>
                  <a:txBody>
                    <a:bodyPr/>
                    <a:lstStyle/>
                    <a:p>
                      <a:pPr algn="ctr">
                        <a:lnSpc>
                          <a:spcPct val="100000"/>
                        </a:lnSpc>
                      </a:pPr>
                      <a:r>
                        <a:rPr lang="en-US" altLang="zh-CN" sz="1100" kern="1200" dirty="0">
                          <a:solidFill>
                            <a:schemeClr val="dk1"/>
                          </a:solidFill>
                          <a:latin typeface="Noto Serif CJK JP"/>
                          <a:ea typeface="+mn-ea"/>
                        </a:rPr>
                        <a:t>24</a:t>
                      </a:r>
                    </a:p>
                    <a:p>
                      <a:pPr algn="ctr">
                        <a:lnSpc>
                          <a:spcPct val="100000"/>
                        </a:lnSpc>
                      </a:pPr>
                      <a:r>
                        <a:rPr lang="zh-CN" altLang="en-US" sz="700" kern="1200" dirty="0">
                          <a:solidFill>
                            <a:schemeClr val="dk1"/>
                          </a:solidFill>
                          <a:latin typeface="Noto Serif CJK JP"/>
                          <a:ea typeface="+mn-ea"/>
                        </a:rPr>
                        <a:t>（</a:t>
                      </a:r>
                      <a:r>
                        <a:rPr lang="en-US" altLang="zh-CN" sz="700" kern="1200" dirty="0">
                          <a:solidFill>
                            <a:schemeClr val="dk1"/>
                          </a:solidFill>
                          <a:latin typeface="Noto Serif CJK JP"/>
                          <a:ea typeface="+mn-ea"/>
                        </a:rPr>
                        <a:t>25℃</a:t>
                      </a:r>
                      <a:r>
                        <a:rPr lang="zh-CN" altLang="en-US" sz="700" kern="1200" dirty="0">
                          <a:solidFill>
                            <a:schemeClr val="dk1"/>
                          </a:solidFill>
                          <a:latin typeface="Noto Serif CJK JP"/>
                          <a:ea typeface="+mn-ea"/>
                        </a:rPr>
                        <a:t>以下小于</a:t>
                      </a:r>
                      <a:r>
                        <a:rPr lang="en-US" altLang="zh-CN" sz="700" kern="1200" dirty="0">
                          <a:solidFill>
                            <a:schemeClr val="dk1"/>
                          </a:solidFill>
                          <a:latin typeface="Noto Serif CJK JP"/>
                          <a:ea typeface="+mn-ea"/>
                        </a:rPr>
                        <a:t>3</a:t>
                      </a:r>
                      <a:r>
                        <a:rPr lang="zh-CN" altLang="en-US" sz="700" kern="1200" dirty="0">
                          <a:solidFill>
                            <a:schemeClr val="dk1"/>
                          </a:solidFill>
                          <a:latin typeface="Noto Serif CJK JP"/>
                          <a:ea typeface="+mn-ea"/>
                        </a:rPr>
                        <a:t>个月）</a:t>
                      </a:r>
                    </a:p>
                  </a:txBody>
                  <a:tcPr anchor="ctr">
                    <a:solidFill>
                      <a:srgbClr val="EEF5FC"/>
                    </a:solidFill>
                  </a:tcPr>
                </a:tc>
                <a:tc>
                  <a:txBody>
                    <a:bodyPr/>
                    <a:lstStyle/>
                    <a:p>
                      <a:pPr algn="ctr">
                        <a:lnSpc>
                          <a:spcPct val="100000"/>
                        </a:lnSpc>
                      </a:pPr>
                      <a:r>
                        <a:rPr lang="en-US" altLang="zh-CN" sz="1100" kern="1200" dirty="0">
                          <a:solidFill>
                            <a:schemeClr val="dk1"/>
                          </a:solidFill>
                          <a:latin typeface="Noto Serif CJK JP"/>
                          <a:ea typeface="+mn-ea"/>
                        </a:rPr>
                        <a:t>2-8℃</a:t>
                      </a:r>
                      <a:r>
                        <a:rPr lang="zh-CN" altLang="en-US" sz="1100" kern="1200" dirty="0">
                          <a:solidFill>
                            <a:schemeClr val="dk1"/>
                          </a:solidFill>
                          <a:latin typeface="Noto Serif CJK JP"/>
                          <a:ea typeface="+mn-ea"/>
                        </a:rPr>
                        <a:t>保存</a:t>
                      </a:r>
                    </a:p>
                  </a:txBody>
                  <a:tcPr anchor="ctr">
                    <a:solidFill>
                      <a:srgbClr val="EEF5FC"/>
                    </a:solidFill>
                  </a:tcPr>
                </a:tc>
                <a:extLst>
                  <a:ext uri="{0D108BD9-81ED-4DB2-BD59-A6C34878D82A}">
                    <a16:rowId xmlns:a16="http://schemas.microsoft.com/office/drawing/2014/main" val="2774921618"/>
                  </a:ext>
                </a:extLst>
              </a:tr>
              <a:tr h="426948">
                <a:tc>
                  <a:txBody>
                    <a:bodyPr/>
                    <a:lstStyle/>
                    <a:p>
                      <a:pPr algn="ctr">
                        <a:lnSpc>
                          <a:spcPct val="100000"/>
                        </a:lnSpc>
                        <a:spcBef>
                          <a:spcPts val="270"/>
                        </a:spcBef>
                      </a:pPr>
                      <a:r>
                        <a:rPr lang="zh-CN" altLang="en-US" sz="1100" dirty="0">
                          <a:latin typeface="Noto Serif CJK JP"/>
                          <a:cs typeface="Noto Serif CJK JP"/>
                        </a:rPr>
                        <a:t>特立氟胺</a:t>
                      </a:r>
                      <a:endParaRPr sz="1100" dirty="0">
                        <a:latin typeface="Noto Serif CJK JP"/>
                        <a:cs typeface="Noto Serif CJK JP"/>
                      </a:endParaRPr>
                    </a:p>
                  </a:txBody>
                  <a:tcPr marL="0" marR="0" marT="34290" marB="0" anchor="ctr">
                    <a:solidFill>
                      <a:srgbClr val="D2E5F6"/>
                    </a:solidFill>
                  </a:tcPr>
                </a:tc>
                <a:tc>
                  <a:txBody>
                    <a:bodyPr/>
                    <a:lstStyle/>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需要</a:t>
                      </a:r>
                      <a:endParaRPr lang="en-US" altLang="zh-CN" sz="1100" kern="1200" dirty="0">
                        <a:solidFill>
                          <a:schemeClr val="tx1"/>
                        </a:solidFill>
                        <a:latin typeface="Noto Serif CJK JP"/>
                        <a:ea typeface="+mn-ea"/>
                        <a:cs typeface="Times New Roman"/>
                      </a:endParaRPr>
                    </a:p>
                    <a:p>
                      <a:pPr marL="0" algn="ctr" defTabSz="914400" rtl="0" eaLnBrk="1" latinLnBrk="0" hangingPunct="1">
                        <a:lnSpc>
                          <a:spcPct val="100000"/>
                        </a:lnSpc>
                        <a:spcBef>
                          <a:spcPts val="320"/>
                        </a:spcBef>
                      </a:pPr>
                      <a:r>
                        <a:rPr lang="zh-CN" altLang="en-US" sz="1100" kern="1200" dirty="0">
                          <a:solidFill>
                            <a:schemeClr val="tx1"/>
                          </a:solidFill>
                          <a:latin typeface="Noto Serif CJK JP"/>
                          <a:ea typeface="+mn-ea"/>
                          <a:cs typeface="Times New Roman"/>
                        </a:rPr>
                        <a:t>（肝毒性黑框警告）</a:t>
                      </a:r>
                      <a:endParaRPr sz="1100" kern="1200" dirty="0">
                        <a:solidFill>
                          <a:schemeClr val="tx1"/>
                        </a:solidFill>
                        <a:latin typeface="Noto Serif CJK JP"/>
                        <a:ea typeface="+mn-ea"/>
                        <a:cs typeface="Times New Roman"/>
                      </a:endParaRPr>
                    </a:p>
                  </a:txBody>
                  <a:tcPr marL="0" marR="0" marT="34290" marB="0" anchor="ctr">
                    <a:solidFill>
                      <a:srgbClr val="D2E5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100" kern="1200" dirty="0">
                          <a:solidFill>
                            <a:schemeClr val="dk1"/>
                          </a:solidFill>
                          <a:latin typeface="Noto Serif CJK JP"/>
                          <a:ea typeface="+mn-ea"/>
                        </a:rPr>
                        <a:t>48</a:t>
                      </a:r>
                      <a:endParaRPr lang="zh-CN" altLang="en-US" sz="1100" kern="1200" dirty="0">
                        <a:solidFill>
                          <a:schemeClr val="dk1"/>
                        </a:solidFill>
                        <a:latin typeface="Noto Serif CJK JP"/>
                        <a:ea typeface="+mn-ea"/>
                      </a:endParaRPr>
                    </a:p>
                  </a:txBody>
                  <a:tcPr anchor="ctr">
                    <a:solidFill>
                      <a:srgbClr val="D2E5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100" kern="1200" dirty="0">
                          <a:solidFill>
                            <a:schemeClr val="dk1"/>
                          </a:solidFill>
                          <a:latin typeface="Noto Serif CJK JP"/>
                          <a:ea typeface="+mn-ea"/>
                          <a:cs typeface="Times New Roman"/>
                        </a:rPr>
                        <a:t> </a:t>
                      </a:r>
                      <a:r>
                        <a:rPr lang="en-US" altLang="zh-CN" sz="1100" kern="1200" dirty="0">
                          <a:solidFill>
                            <a:schemeClr val="dk1"/>
                          </a:solidFill>
                          <a:latin typeface="Noto Serif CJK JP"/>
                          <a:ea typeface="+mn-ea"/>
                          <a:cs typeface="Times New Roman"/>
                        </a:rPr>
                        <a:t>30℃</a:t>
                      </a:r>
                      <a:r>
                        <a:rPr lang="zh-CN" altLang="en-US" sz="1100" kern="1200" dirty="0">
                          <a:solidFill>
                            <a:schemeClr val="dk1"/>
                          </a:solidFill>
                          <a:latin typeface="Noto Serif CJK JP"/>
                          <a:ea typeface="+mn-ea"/>
                          <a:cs typeface="Times New Roman"/>
                        </a:rPr>
                        <a:t>以下</a:t>
                      </a:r>
                    </a:p>
                  </a:txBody>
                  <a:tcPr anchor="ctr">
                    <a:solidFill>
                      <a:srgbClr val="D2E5F6"/>
                    </a:solidFill>
                  </a:tcPr>
                </a:tc>
                <a:extLst>
                  <a:ext uri="{0D108BD9-81ED-4DB2-BD59-A6C34878D82A}">
                    <a16:rowId xmlns:a16="http://schemas.microsoft.com/office/drawing/2014/main" val="1830047066"/>
                  </a:ext>
                </a:extLst>
              </a:tr>
            </a:tbl>
          </a:graphicData>
        </a:graphic>
      </p:graphicFrame>
      <p:sp>
        <p:nvSpPr>
          <p:cNvPr id="2" name="标题 1">
            <a:extLst>
              <a:ext uri="{FF2B5EF4-FFF2-40B4-BE49-F238E27FC236}">
                <a16:creationId xmlns:a16="http://schemas.microsoft.com/office/drawing/2014/main" id="{B796B700-F557-6CB4-898F-D3366E5C7009}"/>
              </a:ext>
            </a:extLst>
          </p:cNvPr>
          <p:cNvSpPr>
            <a:spLocks noGrp="1"/>
          </p:cNvSpPr>
          <p:nvPr>
            <p:ph type="title"/>
          </p:nvPr>
        </p:nvSpPr>
        <p:spPr>
          <a:xfrm>
            <a:off x="166013" y="73025"/>
            <a:ext cx="12969416" cy="498475"/>
          </a:xfrm>
        </p:spPr>
        <p:txBody>
          <a:bodyPr vert="horz">
            <a:normAutofit/>
          </a:bodyPr>
          <a:lstStyle/>
          <a:p>
            <a:r>
              <a:rPr lang="en-US" altLang="zh-CN" sz="2800" kern="800" spc="-90" dirty="0"/>
              <a:t>04 </a:t>
            </a:r>
            <a:r>
              <a:rPr lang="zh-CN" altLang="en-US" sz="2800" kern="800" spc="-90" dirty="0"/>
              <a:t>创新性</a:t>
            </a:r>
            <a:r>
              <a:rPr lang="en-US" altLang="zh-CN" sz="2800" kern="800" spc="-90" dirty="0"/>
              <a:t>-</a:t>
            </a:r>
            <a:r>
              <a:rPr lang="zh-CN" altLang="en-US" sz="2800" kern="800" spc="-90" dirty="0"/>
              <a:t>下：</a:t>
            </a:r>
            <a:r>
              <a:rPr lang="zh-CN" altLang="en-US" sz="2800" dirty="0"/>
              <a:t>被纳入临床急需境外新药名单和优先审评</a:t>
            </a:r>
            <a:endParaRPr lang="zh-CN" altLang="en-US" sz="2800" kern="800" spc="-90" dirty="0"/>
          </a:p>
        </p:txBody>
      </p:sp>
      <p:sp>
        <p:nvSpPr>
          <p:cNvPr id="17" name="矩形: 圆角 16">
            <a:extLst>
              <a:ext uri="{FF2B5EF4-FFF2-40B4-BE49-F238E27FC236}">
                <a16:creationId xmlns:a16="http://schemas.microsoft.com/office/drawing/2014/main" id="{3E67EDD8-9DC7-8EE2-5CE0-227EA2521C0D}"/>
              </a:ext>
            </a:extLst>
          </p:cNvPr>
          <p:cNvSpPr/>
          <p:nvPr/>
        </p:nvSpPr>
        <p:spPr>
          <a:xfrm>
            <a:off x="459864" y="1277494"/>
            <a:ext cx="11272271" cy="1932049"/>
          </a:xfrm>
          <a:prstGeom prst="roundRect">
            <a:avLst>
              <a:gd name="adj" fmla="val 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endParaRPr kumimoji="0" lang="en-US" altLang="zh-CN" sz="16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object 7">
            <a:extLst>
              <a:ext uri="{FF2B5EF4-FFF2-40B4-BE49-F238E27FC236}">
                <a16:creationId xmlns:a16="http://schemas.microsoft.com/office/drawing/2014/main" id="{0429CB4E-6CE4-FC96-0A7A-6F7FFF62D963}"/>
              </a:ext>
            </a:extLst>
          </p:cNvPr>
          <p:cNvSpPr txBox="1"/>
          <p:nvPr/>
        </p:nvSpPr>
        <p:spPr>
          <a:xfrm>
            <a:off x="565947" y="1487063"/>
            <a:ext cx="9140901" cy="1516441"/>
          </a:xfrm>
          <a:prstGeom prst="rect">
            <a:avLst/>
          </a:prstGeom>
        </p:spPr>
        <p:txBody>
          <a:bodyPr vert="horz" wrap="square" lIns="0" tIns="12700" rIns="0" bIns="0" rtlCol="0">
            <a:spAutoFit/>
          </a:bodyPr>
          <a:lstStyle/>
          <a:p>
            <a:pPr marL="180000" indent="-180000">
              <a:lnSpc>
                <a:spcPct val="120000"/>
              </a:lnSpc>
              <a:spcBef>
                <a:spcPts val="100"/>
              </a:spcBef>
              <a:buClr>
                <a:srgbClr val="2473BA"/>
              </a:buClr>
              <a:buFont typeface="+mj-lt"/>
              <a:buAutoNum type="arabicPeriod"/>
              <a:tabLst>
                <a:tab pos="367665" algn="l"/>
                <a:tab pos="368935" algn="l"/>
              </a:tabLst>
            </a:pPr>
            <a:r>
              <a:rPr lang="zh-CN" altLang="en-US" sz="1600" spc="-5" dirty="0">
                <a:solidFill>
                  <a:srgbClr val="2473BA"/>
                </a:solidFill>
                <a:latin typeface="+mn-ea"/>
                <a:cs typeface="Noto Serif CJK JP"/>
              </a:rPr>
              <a:t>适合特殊人群</a:t>
            </a:r>
            <a:r>
              <a:rPr lang="en-US" altLang="zh-CN" sz="1600" spc="-5" dirty="0">
                <a:solidFill>
                  <a:srgbClr val="2473BA"/>
                </a:solidFill>
                <a:latin typeface="+mn-ea"/>
                <a:cs typeface="Noto Serif CJK JP"/>
              </a:rPr>
              <a:t>:24</a:t>
            </a:r>
            <a:r>
              <a:rPr lang="zh-CN" altLang="en-US" sz="1600" spc="-5" dirty="0">
                <a:solidFill>
                  <a:srgbClr val="2473BA"/>
                </a:solidFill>
                <a:latin typeface="+mn-ea"/>
                <a:cs typeface="Noto Serif CJK JP"/>
              </a:rPr>
              <a:t>小时清除，方便停药妊娠且无病情反弹（</a:t>
            </a:r>
            <a:r>
              <a:rPr lang="en-US" altLang="zh-CN" sz="1600" spc="-5" dirty="0">
                <a:solidFill>
                  <a:srgbClr val="2473BA"/>
                </a:solidFill>
                <a:latin typeface="+mn-ea"/>
                <a:cs typeface="Noto Serif CJK JP"/>
              </a:rPr>
              <a:t>MS</a:t>
            </a:r>
            <a:r>
              <a:rPr lang="zh-CN" altLang="en-US" sz="1600" spc="-5" dirty="0">
                <a:solidFill>
                  <a:srgbClr val="2473BA"/>
                </a:solidFill>
                <a:latin typeface="+mn-ea"/>
                <a:cs typeface="Noto Serif CJK JP"/>
              </a:rPr>
              <a:t>发病高峰与育龄期高度重叠）</a:t>
            </a:r>
          </a:p>
          <a:p>
            <a:pPr marL="180000" indent="-180000">
              <a:lnSpc>
                <a:spcPct val="120000"/>
              </a:lnSpc>
              <a:spcBef>
                <a:spcPts val="100"/>
              </a:spcBef>
              <a:buClr>
                <a:srgbClr val="2473BA"/>
              </a:buClr>
              <a:buFont typeface="+mj-lt"/>
              <a:buAutoNum type="arabicPeriod"/>
              <a:tabLst>
                <a:tab pos="367665" algn="l"/>
                <a:tab pos="368935" algn="l"/>
              </a:tabLst>
            </a:pPr>
            <a:r>
              <a:rPr lang="zh-CN" altLang="en-US" sz="1600" spc="-5" dirty="0">
                <a:solidFill>
                  <a:srgbClr val="2473BA"/>
                </a:solidFill>
                <a:latin typeface="+mn-ea"/>
                <a:cs typeface="Noto Serif CJK JP"/>
              </a:rPr>
              <a:t>适合特殊病生理状态</a:t>
            </a:r>
            <a:r>
              <a:rPr lang="en-US" altLang="zh-CN" sz="1600" spc="-5" dirty="0">
                <a:solidFill>
                  <a:srgbClr val="2473BA"/>
                </a:solidFill>
                <a:latin typeface="+mn-ea"/>
                <a:cs typeface="Noto Serif CJK JP"/>
              </a:rPr>
              <a:t>:</a:t>
            </a:r>
            <a:r>
              <a:rPr lang="zh-CN" altLang="en-US" sz="1600" spc="-5" dirty="0">
                <a:solidFill>
                  <a:srgbClr val="2473BA"/>
                </a:solidFill>
                <a:latin typeface="+mn-ea"/>
                <a:cs typeface="Noto Serif CJK JP"/>
              </a:rPr>
              <a:t>代谢不涉及</a:t>
            </a:r>
            <a:r>
              <a:rPr lang="en-US" altLang="zh-CN" sz="1600" spc="-5" dirty="0">
                <a:solidFill>
                  <a:srgbClr val="2473BA"/>
                </a:solidFill>
                <a:latin typeface="+mn-ea"/>
                <a:cs typeface="Noto Serif CJK JP"/>
              </a:rPr>
              <a:t>CYP450</a:t>
            </a:r>
            <a:r>
              <a:rPr lang="zh-CN" altLang="en-US" sz="1600" spc="-5" dirty="0">
                <a:solidFill>
                  <a:srgbClr val="2473BA"/>
                </a:solidFill>
                <a:latin typeface="+mn-ea"/>
                <a:cs typeface="Noto Serif CJK JP"/>
              </a:rPr>
              <a:t>系统 </a:t>
            </a:r>
            <a:r>
              <a:rPr lang="en-US" altLang="zh-CN" sz="1600" spc="-5" dirty="0">
                <a:solidFill>
                  <a:srgbClr val="2473BA"/>
                </a:solidFill>
                <a:latin typeface="+mn-ea"/>
                <a:cs typeface="Noto Serif CJK JP"/>
              </a:rPr>
              <a:t>,16%</a:t>
            </a:r>
            <a:r>
              <a:rPr lang="zh-CN" altLang="en-US" sz="1600" spc="-5" dirty="0">
                <a:solidFill>
                  <a:srgbClr val="2473BA"/>
                </a:solidFill>
                <a:latin typeface="+mn-ea"/>
                <a:cs typeface="Noto Serif CJK JP"/>
              </a:rPr>
              <a:t>经肾脏消除，肝</a:t>
            </a:r>
            <a:r>
              <a:rPr lang="en-US" altLang="zh-CN" sz="1600" spc="-5" dirty="0">
                <a:solidFill>
                  <a:srgbClr val="2473BA"/>
                </a:solidFill>
                <a:latin typeface="+mn-ea"/>
                <a:cs typeface="Noto Serif CJK JP"/>
              </a:rPr>
              <a:t>/</a:t>
            </a:r>
            <a:r>
              <a:rPr lang="zh-CN" altLang="en-US" sz="1600" spc="-5" dirty="0">
                <a:solidFill>
                  <a:srgbClr val="2473BA"/>
                </a:solidFill>
                <a:latin typeface="+mn-ea"/>
                <a:cs typeface="Noto Serif CJK JP"/>
              </a:rPr>
              <a:t>肾损患者均无需调整剂量 </a:t>
            </a:r>
            <a:r>
              <a:rPr lang="zh-CN" altLang="en-US" sz="1600" spc="-5" baseline="30000" dirty="0">
                <a:solidFill>
                  <a:srgbClr val="2473BA"/>
                </a:solidFill>
                <a:latin typeface="+mn-ea"/>
                <a:cs typeface="Noto Serif CJK JP"/>
              </a:rPr>
              <a:t>说明书</a:t>
            </a:r>
          </a:p>
          <a:p>
            <a:pPr marL="180000" indent="-180000">
              <a:lnSpc>
                <a:spcPct val="120000"/>
              </a:lnSpc>
              <a:spcBef>
                <a:spcPts val="100"/>
              </a:spcBef>
              <a:buClr>
                <a:srgbClr val="2473BA"/>
              </a:buClr>
              <a:buFont typeface="+mj-lt"/>
              <a:buAutoNum type="arabicPeriod"/>
              <a:tabLst>
                <a:tab pos="367665" algn="l"/>
                <a:tab pos="368935" algn="l"/>
              </a:tabLst>
            </a:pPr>
            <a:r>
              <a:rPr lang="zh-CN" altLang="en-US" sz="1600" spc="-5" dirty="0">
                <a:solidFill>
                  <a:srgbClr val="2473BA"/>
                </a:solidFill>
                <a:latin typeface="+mn-ea"/>
                <a:cs typeface="Noto Serif CJK JP"/>
              </a:rPr>
              <a:t>适合疫苗接种人群</a:t>
            </a:r>
            <a:r>
              <a:rPr lang="en-US" altLang="zh-CN" sz="1600" spc="-5" dirty="0">
                <a:solidFill>
                  <a:srgbClr val="2473BA"/>
                </a:solidFill>
                <a:latin typeface="+mn-ea"/>
                <a:cs typeface="Noto Serif CJK JP"/>
              </a:rPr>
              <a:t>:</a:t>
            </a:r>
            <a:r>
              <a:rPr lang="zh-CN" altLang="en-US" sz="1600" spc="-5" dirty="0">
                <a:solidFill>
                  <a:srgbClr val="2473BA"/>
                </a:solidFill>
                <a:latin typeface="+mn-ea"/>
                <a:cs typeface="Noto Serif CJK JP"/>
              </a:rPr>
              <a:t>不降低疫苗应答率；</a:t>
            </a:r>
          </a:p>
          <a:p>
            <a:pPr marL="180000" indent="-180000">
              <a:lnSpc>
                <a:spcPct val="120000"/>
              </a:lnSpc>
              <a:spcBef>
                <a:spcPts val="100"/>
              </a:spcBef>
              <a:buClr>
                <a:srgbClr val="2473BA"/>
              </a:buClr>
              <a:buFont typeface="+mj-lt"/>
              <a:buAutoNum type="arabicPeriod"/>
              <a:tabLst>
                <a:tab pos="367665" algn="l"/>
                <a:tab pos="368935" algn="l"/>
              </a:tabLst>
            </a:pPr>
            <a:r>
              <a:rPr lang="zh-CN" altLang="en-US" sz="1600" spc="-5" dirty="0">
                <a:solidFill>
                  <a:srgbClr val="2473BA"/>
                </a:solidFill>
                <a:latin typeface="+mn-ea"/>
                <a:cs typeface="Noto Serif CJK JP"/>
              </a:rPr>
              <a:t>降低管理贮存和使用成本：有效期</a:t>
            </a:r>
            <a:r>
              <a:rPr lang="en-US" altLang="zh-CN" sz="1600" spc="-5" dirty="0">
                <a:solidFill>
                  <a:srgbClr val="2473BA"/>
                </a:solidFill>
                <a:latin typeface="+mn-ea"/>
                <a:cs typeface="Noto Serif CJK JP"/>
              </a:rPr>
              <a:t>4</a:t>
            </a:r>
            <a:r>
              <a:rPr lang="zh-CN" altLang="en-US" sz="1600" spc="-5" dirty="0">
                <a:solidFill>
                  <a:srgbClr val="2473BA"/>
                </a:solidFill>
                <a:latin typeface="+mn-ea"/>
                <a:cs typeface="Noto Serif CJK JP"/>
              </a:rPr>
              <a:t>年，无需冷链保存运输；监测和用药成本低 </a:t>
            </a:r>
          </a:p>
          <a:p>
            <a:pPr marL="180000" indent="-180000">
              <a:lnSpc>
                <a:spcPct val="120000"/>
              </a:lnSpc>
              <a:spcBef>
                <a:spcPts val="100"/>
              </a:spcBef>
              <a:buClr>
                <a:srgbClr val="2473BA"/>
              </a:buClr>
              <a:buFont typeface="+mj-lt"/>
              <a:buAutoNum type="arabicPeriod"/>
              <a:tabLst>
                <a:tab pos="367665" algn="l"/>
                <a:tab pos="368935" algn="l"/>
              </a:tabLst>
            </a:pPr>
            <a:r>
              <a:rPr lang="zh-CN" altLang="en-US" sz="1600" spc="-5" dirty="0">
                <a:solidFill>
                  <a:srgbClr val="2473BA"/>
                </a:solidFill>
                <a:latin typeface="+mn-ea"/>
                <a:cs typeface="Noto Serif CJK JP"/>
              </a:rPr>
              <a:t>治疗</a:t>
            </a:r>
            <a:r>
              <a:rPr lang="en-US" altLang="zh-CN" sz="1600" spc="-5" dirty="0">
                <a:solidFill>
                  <a:srgbClr val="2473BA"/>
                </a:solidFill>
                <a:latin typeface="+mn-ea"/>
                <a:cs typeface="Noto Serif CJK JP"/>
              </a:rPr>
              <a:t>MS</a:t>
            </a:r>
            <a:r>
              <a:rPr lang="zh-CN" altLang="en-US" sz="1600" spc="-5" dirty="0">
                <a:solidFill>
                  <a:srgbClr val="2473BA"/>
                </a:solidFill>
                <a:latin typeface="+mn-ea"/>
                <a:cs typeface="Noto Serif CJK JP"/>
              </a:rPr>
              <a:t>方法专利</a:t>
            </a:r>
            <a:r>
              <a:rPr lang="zh-CN" altLang="en-US" sz="1600" spc="-5" dirty="0">
                <a:solidFill>
                  <a:srgbClr val="2473BA"/>
                </a:solidFill>
                <a:latin typeface="+mn-ea"/>
              </a:rPr>
              <a:t>（</a:t>
            </a:r>
            <a:r>
              <a:rPr lang="en-US" altLang="zh-CN" sz="1600" spc="-5" dirty="0">
                <a:solidFill>
                  <a:srgbClr val="2473BA"/>
                </a:solidFill>
                <a:latin typeface="+mn-ea"/>
              </a:rPr>
              <a:t>US 10,959,972</a:t>
            </a:r>
            <a:r>
              <a:rPr lang="zh-CN" altLang="en-US" sz="1600" spc="-5" dirty="0">
                <a:solidFill>
                  <a:srgbClr val="2473BA"/>
                </a:solidFill>
                <a:latin typeface="+mn-ea"/>
              </a:rPr>
              <a:t>，</a:t>
            </a:r>
            <a:r>
              <a:rPr lang="en-US" altLang="zh-CN" sz="1600" spc="-5" dirty="0">
                <a:solidFill>
                  <a:srgbClr val="2473BA"/>
                </a:solidFill>
                <a:latin typeface="+mn-ea"/>
              </a:rPr>
              <a:t>2035</a:t>
            </a:r>
            <a:r>
              <a:rPr lang="zh-CN" altLang="en-US" sz="1600" spc="-5" dirty="0">
                <a:solidFill>
                  <a:srgbClr val="2473BA"/>
                </a:solidFill>
                <a:latin typeface="+mn-ea"/>
              </a:rPr>
              <a:t>年到期）</a:t>
            </a:r>
          </a:p>
        </p:txBody>
      </p:sp>
      <p:sp>
        <p:nvSpPr>
          <p:cNvPr id="19" name="圆角矩形 15">
            <a:extLst>
              <a:ext uri="{FF2B5EF4-FFF2-40B4-BE49-F238E27FC236}">
                <a16:creationId xmlns:a16="http://schemas.microsoft.com/office/drawing/2014/main" id="{8C6D3ACA-5FAC-85A3-A775-199FE951F114}"/>
              </a:ext>
            </a:extLst>
          </p:cNvPr>
          <p:cNvSpPr>
            <a:spLocks/>
          </p:cNvSpPr>
          <p:nvPr/>
        </p:nvSpPr>
        <p:spPr>
          <a:xfrm>
            <a:off x="459865" y="855802"/>
            <a:ext cx="5026535" cy="425223"/>
          </a:xfrm>
          <a:prstGeom prst="roundRect">
            <a:avLst>
              <a:gd name="adj" fmla="val 0"/>
            </a:avLst>
          </a:prstGeom>
          <a:solidFill>
            <a:srgbClr val="2473BA"/>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lnSpc>
                <a:spcPct val="150000"/>
              </a:lnSpc>
              <a:defRPr/>
            </a:pPr>
            <a:endParaRPr kumimoji="0" lang="en-US" altLang="zh-CN" sz="1400" b="1" i="0" u="none" strike="noStrike" kern="1200" cap="none" spc="0" normalizeH="0" baseline="0" noProof="0" dirty="0">
              <a:ln>
                <a:noFill/>
              </a:ln>
              <a:solidFill>
                <a:schemeClr val="accent6"/>
              </a:solidFill>
              <a:effectLst/>
              <a:uLnTx/>
              <a:uFillTx/>
              <a:latin typeface="Arial" panose="020B0604020202020204" pitchFamily="34" charset="0"/>
              <a:ea typeface="微软雅黑" panose="020B0503020204020204" pitchFamily="34" charset="-122"/>
              <a:cs typeface="+mn-cs"/>
            </a:endParaRPr>
          </a:p>
        </p:txBody>
      </p:sp>
      <p:sp>
        <p:nvSpPr>
          <p:cNvPr id="20" name="文本框 19">
            <a:extLst>
              <a:ext uri="{FF2B5EF4-FFF2-40B4-BE49-F238E27FC236}">
                <a16:creationId xmlns:a16="http://schemas.microsoft.com/office/drawing/2014/main" id="{8E84FEB8-7BEC-DEA3-A2E2-806A087312E9}"/>
              </a:ext>
            </a:extLst>
          </p:cNvPr>
          <p:cNvSpPr txBox="1"/>
          <p:nvPr/>
        </p:nvSpPr>
        <p:spPr>
          <a:xfrm>
            <a:off x="565947" y="769742"/>
            <a:ext cx="4628352" cy="499111"/>
          </a:xfrm>
          <a:prstGeom prst="rect">
            <a:avLst/>
          </a:prstGeom>
          <a:noFill/>
        </p:spPr>
        <p:txBody>
          <a:bodyPr wrap="square">
            <a:spAutoFit/>
          </a:bodyPr>
          <a:lstStyle/>
          <a:p>
            <a:pPr algn="ctr" defTabSz="913765">
              <a:lnSpc>
                <a:spcPct val="150000"/>
              </a:lnSpc>
              <a:defRPr/>
            </a:pPr>
            <a:r>
              <a:rPr lang="zh-CN" altLang="en-US" sz="2000" b="1" dirty="0">
                <a:solidFill>
                  <a:prstClr val="white"/>
                </a:solidFill>
                <a:latin typeface="Arial" panose="020B0604020202020204" pitchFamily="34" charset="0"/>
                <a:ea typeface="微软雅黑" panose="020B0503020204020204" pitchFamily="34" charset="-122"/>
              </a:rPr>
              <a:t>唯一双重机制活化</a:t>
            </a:r>
            <a:r>
              <a:rPr lang="en-US" altLang="zh-CN" sz="2000" b="1" dirty="0">
                <a:solidFill>
                  <a:prstClr val="white"/>
                </a:solidFill>
                <a:latin typeface="Arial" panose="020B0604020202020204" pitchFamily="34" charset="0"/>
                <a:ea typeface="微软雅黑" panose="020B0503020204020204" pitchFamily="34" charset="-122"/>
              </a:rPr>
              <a:t>Nrf2 </a:t>
            </a:r>
            <a:r>
              <a:rPr lang="zh-CN" altLang="en-US" sz="2000" b="1" dirty="0">
                <a:solidFill>
                  <a:prstClr val="white"/>
                </a:solidFill>
                <a:latin typeface="Arial" panose="020B0604020202020204" pitchFamily="34" charset="0"/>
                <a:ea typeface="微软雅黑" panose="020B0503020204020204" pitchFamily="34" charset="-122"/>
              </a:rPr>
              <a:t>、</a:t>
            </a:r>
            <a:r>
              <a:rPr lang="zh-CN" altLang="en-US" sz="2000" b="1">
                <a:solidFill>
                  <a:prstClr val="white"/>
                </a:solidFill>
                <a:latin typeface="Arial" panose="020B0604020202020204" pitchFamily="34" charset="0"/>
                <a:ea typeface="微软雅黑" panose="020B0503020204020204" pitchFamily="34" charset="-122"/>
              </a:rPr>
              <a:t>全球应用广泛</a:t>
            </a:r>
            <a:endParaRPr lang="zh-CN" altLang="en-US" sz="2000" b="1" dirty="0">
              <a:solidFill>
                <a:prstClr val="white"/>
              </a:solidFill>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1409331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7B85717-A91F-5BF1-C794-DEFADBA702EA}"/>
              </a:ext>
            </a:extLst>
          </p:cNvPr>
          <p:cNvGraphicFramePr>
            <a:graphicFrameLocks noChangeAspect="1"/>
          </p:cNvGraphicFramePr>
          <p:nvPr>
            <p:custDataLst>
              <p:tags r:id="rId2"/>
            </p:custDataLst>
            <p:extLst>
              <p:ext uri="{D42A27DB-BD31-4B8C-83A1-F6EECF244321}">
                <p14:modId xmlns:p14="http://schemas.microsoft.com/office/powerpoint/2010/main" val="67245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95" imgH="396" progId="TCLayout.ActiveDocument.1">
                  <p:embed/>
                </p:oleObj>
              </mc:Choice>
              <mc:Fallback>
                <p:oleObj name="think-cell 幻灯片" r:id="rId5" imgW="395" imgH="396" progId="TCLayout.ActiveDocument.1">
                  <p:embed/>
                  <p:pic>
                    <p:nvPicPr>
                      <p:cNvPr id="4" name="对象 3" hidden="1">
                        <a:extLst>
                          <a:ext uri="{FF2B5EF4-FFF2-40B4-BE49-F238E27FC236}">
                            <a16:creationId xmlns:a16="http://schemas.microsoft.com/office/drawing/2014/main" id="{F7B85717-A91F-5BF1-C794-DEFADBA702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12_1">
            <a:extLst>
              <a:ext uri="{FF2B5EF4-FFF2-40B4-BE49-F238E27FC236}">
                <a16:creationId xmlns:a16="http://schemas.microsoft.com/office/drawing/2014/main" id="{1CC419F9-655A-A028-69C3-442C118D03F9}"/>
              </a:ext>
            </a:extLst>
          </p:cNvPr>
          <p:cNvSpPr/>
          <p:nvPr/>
        </p:nvSpPr>
        <p:spPr>
          <a:xfrm>
            <a:off x="382404" y="1566329"/>
            <a:ext cx="10983432" cy="1976971"/>
          </a:xfrm>
          <a:prstGeom prst="roundRect">
            <a:avLst>
              <a:gd name="adj" fmla="val 546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Verdana"/>
            </a:endParaRPr>
          </a:p>
        </p:txBody>
      </p:sp>
      <p:sp>
        <p:nvSpPr>
          <p:cNvPr id="5" name="文本框 4">
            <a:extLst>
              <a:ext uri="{FF2B5EF4-FFF2-40B4-BE49-F238E27FC236}">
                <a16:creationId xmlns:a16="http://schemas.microsoft.com/office/drawing/2014/main" id="{E6A52B5A-7DBC-1F4A-3D65-AFC0590BB1F1}"/>
              </a:ext>
            </a:extLst>
          </p:cNvPr>
          <p:cNvSpPr txBox="1"/>
          <p:nvPr/>
        </p:nvSpPr>
        <p:spPr>
          <a:xfrm>
            <a:off x="507195" y="1631524"/>
            <a:ext cx="10967131" cy="1854354"/>
          </a:xfrm>
          <a:prstGeom prst="rect">
            <a:avLst/>
          </a:prstGeom>
          <a:noFill/>
        </p:spPr>
        <p:txBody>
          <a:bodyPr wrap="square" anchor="ctr">
            <a:spAutoFit/>
          </a:bodyPr>
          <a:lstStyle/>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疾病负担重：</a:t>
            </a:r>
            <a:r>
              <a:rPr lang="en-US" altLang="zh-CN" sz="1400" dirty="0">
                <a:solidFill>
                  <a:srgbClr val="2473BA"/>
                </a:solidFill>
                <a:latin typeface="Arial" panose="020B0604020202020204" pitchFamily="34" charset="0"/>
                <a:ea typeface="微软雅黑" panose="020B0503020204020204" pitchFamily="34" charset="-122"/>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可导致瘫痪、失明、呼吸衰竭危及生命；被列入第一批罕见病目录</a:t>
            </a: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对青壮年患者影响大</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是青壮年致残常见疾病因素之一，</a:t>
            </a:r>
            <a:r>
              <a:rPr lang="zh-CN" altLang="en-US" sz="1400" dirty="0">
                <a:solidFill>
                  <a:srgbClr val="2473BA"/>
                </a:solidFill>
                <a:latin typeface="Arial" panose="020B0604020202020204" pitchFamily="34" charset="0"/>
                <a:ea typeface="微软雅黑" panose="020B0503020204020204" pitchFamily="34" charset="-122"/>
              </a:rPr>
              <a:t>预期</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寿命减少</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7-14</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年</a:t>
            </a:r>
            <a:r>
              <a:rPr kumimoji="0" lang="en-US" altLang="zh-CN" sz="1400" b="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33</a:t>
            </a:r>
            <a:endParaRPr kumimoji="0" lang="zh-CN" altLang="en-US" sz="1400" b="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临床存在巨大未满足需求：</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异质性强，现有药物不能满足个体化治疗需求 </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 </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全球已上市</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20</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余种治疗</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的疾病修正治疗药品） </a:t>
            </a: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1"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兼顾疾病控制与公共健康</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对于预防流感、肺炎、脊髓灰质炎等包括灭活疫苗、多糖疫苗、类毒素疫苗、</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RNA</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疫苗、病毒载体疫苗，本品均不降低上述疫苗免疫应答率 </a:t>
            </a:r>
            <a:r>
              <a:rPr kumimoji="0" lang="zh-CN" altLang="en-US" sz="1400" b="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rPr>
              <a:t>说明书</a:t>
            </a:r>
            <a:r>
              <a:rPr lang="en-US" altLang="zh-CN" sz="1400" baseline="30000" dirty="0">
                <a:solidFill>
                  <a:srgbClr val="2473BA"/>
                </a:solidFill>
                <a:latin typeface="Arial" panose="020B0604020202020204" pitchFamily="34" charset="0"/>
                <a:ea typeface="微软雅黑" panose="020B0503020204020204" pitchFamily="34" charset="-122"/>
              </a:rPr>
              <a:t>,31,32</a:t>
            </a:r>
            <a:endParaRPr kumimoji="0" lang="zh-CN" altLang="en-US" sz="1400" b="0" i="0" u="none" strike="noStrike" kern="1200" cap="none" spc="0" normalizeH="0" baseline="30000" noProof="0" dirty="0">
              <a:ln>
                <a:noFill/>
              </a:ln>
              <a:solidFill>
                <a:srgbClr val="2473BA"/>
              </a:solidFill>
              <a:effectLst/>
              <a:uLnTx/>
              <a:uFillTx/>
              <a:latin typeface="Arial" panose="020B0604020202020204" pitchFamily="34" charset="0"/>
              <a:ea typeface="微软雅黑" panose="020B0503020204020204" pitchFamily="34" charset="-122"/>
              <a:cs typeface="+mn-cs"/>
            </a:endParaRPr>
          </a:p>
        </p:txBody>
      </p:sp>
      <p:sp>
        <p:nvSpPr>
          <p:cNvPr id="8" name="Rectangle 12_1">
            <a:extLst>
              <a:ext uri="{FF2B5EF4-FFF2-40B4-BE49-F238E27FC236}">
                <a16:creationId xmlns:a16="http://schemas.microsoft.com/office/drawing/2014/main" id="{E9EC9CE0-96ED-8B96-59DA-6FDF6B9A0D67}"/>
              </a:ext>
            </a:extLst>
          </p:cNvPr>
          <p:cNvSpPr/>
          <p:nvPr/>
        </p:nvSpPr>
        <p:spPr>
          <a:xfrm>
            <a:off x="382404" y="4343580"/>
            <a:ext cx="10961974" cy="1467929"/>
          </a:xfrm>
          <a:prstGeom prst="roundRect">
            <a:avLst>
              <a:gd name="adj" fmla="val 5460"/>
            </a:avLst>
          </a:prstGeom>
          <a:gradFill>
            <a:gsLst>
              <a:gs pos="0">
                <a:srgbClr val="D2E5F6">
                  <a:alpha val="51000"/>
                </a:srgbClr>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2473BA"/>
              </a:solidFill>
              <a:effectLst/>
              <a:uLnTx/>
              <a:uFillTx/>
              <a:latin typeface="Arial" panose="020B0604020202020204" pitchFamily="34" charset="0"/>
              <a:ea typeface="微软雅黑" panose="020B0503020204020204" pitchFamily="34" charset="-122"/>
              <a:cs typeface="+mn-ea"/>
              <a:sym typeface="Verdana"/>
            </a:endParaRPr>
          </a:p>
        </p:txBody>
      </p:sp>
      <p:sp>
        <p:nvSpPr>
          <p:cNvPr id="9" name="文本框 8">
            <a:extLst>
              <a:ext uri="{FF2B5EF4-FFF2-40B4-BE49-F238E27FC236}">
                <a16:creationId xmlns:a16="http://schemas.microsoft.com/office/drawing/2014/main" id="{C273D101-3A4C-F08E-EB9B-FF89B440B592}"/>
              </a:ext>
            </a:extLst>
          </p:cNvPr>
          <p:cNvSpPr txBox="1"/>
          <p:nvPr/>
        </p:nvSpPr>
        <p:spPr>
          <a:xfrm>
            <a:off x="507195" y="4536521"/>
            <a:ext cx="10983432" cy="1023357"/>
          </a:xfrm>
          <a:prstGeom prst="rect">
            <a:avLst/>
          </a:prstGeom>
          <a:noFill/>
        </p:spPr>
        <p:txBody>
          <a:bodyPr wrap="square" anchor="ctr">
            <a:spAutoFit/>
          </a:bodyPr>
          <a:lstStyle/>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疾病修正治疗（</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DMT</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是</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基础标准化治疗，本品是指南推荐的一线</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DMT</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a:t>
            </a: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自费阶段，药品年治疗费用：</a:t>
            </a: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9.3</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万</a:t>
            </a: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MS</a:t>
            </a:r>
            <a:r>
              <a:rPr kumimoji="0" lang="zh-CN" altLang="en-US" sz="1400" b="0" i="0" u="none" strike="noStrike" kern="1200" cap="none" spc="0" normalizeH="0" baseline="0" noProof="0" dirty="0">
                <a:ln>
                  <a:noFill/>
                </a:ln>
                <a:solidFill>
                  <a:srgbClr val="2473BA"/>
                </a:solidFill>
                <a:effectLst/>
                <a:uLnTx/>
                <a:uFillTx/>
                <a:latin typeface="Arial" panose="020B0604020202020204" pitchFamily="34" charset="0"/>
                <a:ea typeface="微软雅黑" panose="020B0503020204020204" pitchFamily="34" charset="-122"/>
                <a:cs typeface="+mn-cs"/>
              </a:rPr>
              <a:t>为罕见病，患者人数有限，且本品与目录内同类产品同适应症人群，仅存在替代关系，不叠加使用，不会增加医保基金总预算</a:t>
            </a:r>
          </a:p>
        </p:txBody>
      </p:sp>
      <p:sp>
        <p:nvSpPr>
          <p:cNvPr id="11" name="标题 10">
            <a:extLst>
              <a:ext uri="{FF2B5EF4-FFF2-40B4-BE49-F238E27FC236}">
                <a16:creationId xmlns:a16="http://schemas.microsoft.com/office/drawing/2014/main" id="{92AB2B26-99E6-DB78-89A6-357A2C8419BA}"/>
              </a:ext>
            </a:extLst>
          </p:cNvPr>
          <p:cNvSpPr>
            <a:spLocks noGrp="1"/>
          </p:cNvSpPr>
          <p:nvPr>
            <p:ph type="title"/>
          </p:nvPr>
        </p:nvSpPr>
        <p:spPr/>
        <p:txBody>
          <a:bodyPr vert="horz">
            <a:normAutofit fontScale="90000"/>
          </a:bodyPr>
          <a:lstStyle/>
          <a:p>
            <a:r>
              <a:rPr lang="en-US" altLang="zh-CN" dirty="0"/>
              <a:t>05 </a:t>
            </a:r>
            <a:r>
              <a:rPr lang="zh-CN" altLang="en-US" dirty="0"/>
              <a:t>公平性</a:t>
            </a:r>
            <a:r>
              <a:rPr lang="en-US" altLang="zh-CN" dirty="0"/>
              <a:t>-</a:t>
            </a:r>
            <a:r>
              <a:rPr lang="zh-CN" altLang="en-US" dirty="0"/>
              <a:t>上</a:t>
            </a:r>
            <a:r>
              <a:rPr lang="en-US" altLang="zh-CN" dirty="0"/>
              <a:t> </a:t>
            </a:r>
            <a:endParaRPr lang="zh-CN" altLang="en-US" dirty="0"/>
          </a:p>
        </p:txBody>
      </p:sp>
      <p:sp>
        <p:nvSpPr>
          <p:cNvPr id="13" name="圆角矩形 15">
            <a:extLst>
              <a:ext uri="{FF2B5EF4-FFF2-40B4-BE49-F238E27FC236}">
                <a16:creationId xmlns:a16="http://schemas.microsoft.com/office/drawing/2014/main" id="{BA6BBF0E-C79F-A42B-64AC-0C76BEB56E24}"/>
              </a:ext>
            </a:extLst>
          </p:cNvPr>
          <p:cNvSpPr>
            <a:spLocks/>
          </p:cNvSpPr>
          <p:nvPr/>
        </p:nvSpPr>
        <p:spPr>
          <a:xfrm>
            <a:off x="371152" y="965553"/>
            <a:ext cx="10967131" cy="498475"/>
          </a:xfrm>
          <a:prstGeom prst="roundRect">
            <a:avLst>
              <a:gd name="adj" fmla="val 50000"/>
            </a:avLst>
          </a:prstGeom>
          <a:gradFill>
            <a:gsLst>
              <a:gs pos="30000">
                <a:srgbClr val="2473BA"/>
              </a:gs>
              <a:gs pos="100000">
                <a:schemeClr val="bg1">
                  <a:alpha val="0"/>
                </a:schemeClr>
              </a:gs>
            </a:gsLst>
            <a:lin ang="0" scaled="0"/>
          </a:gra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5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70AD47"/>
              </a:solidFill>
              <a:effectLst/>
              <a:uLnTx/>
              <a:uFillTx/>
              <a:latin typeface="Arial" panose="020B0604020202020204" pitchFamily="34" charset="0"/>
              <a:ea typeface="微软雅黑" panose="020B0503020204020204" pitchFamily="34" charset="-122"/>
              <a:cs typeface="+mn-cs"/>
            </a:endParaRPr>
          </a:p>
        </p:txBody>
      </p:sp>
      <p:grpSp>
        <p:nvGrpSpPr>
          <p:cNvPr id="23" name="Group 16">
            <a:extLst>
              <a:ext uri="{FF2B5EF4-FFF2-40B4-BE49-F238E27FC236}">
                <a16:creationId xmlns:a16="http://schemas.microsoft.com/office/drawing/2014/main" id="{CA1E7C48-A584-8051-08D7-CE577409080D}"/>
              </a:ext>
            </a:extLst>
          </p:cNvPr>
          <p:cNvGrpSpPr/>
          <p:nvPr/>
        </p:nvGrpSpPr>
        <p:grpSpPr>
          <a:xfrm>
            <a:off x="371153" y="874152"/>
            <a:ext cx="607044" cy="607044"/>
            <a:chOff x="437204" y="925510"/>
            <a:chExt cx="754743" cy="754743"/>
          </a:xfrm>
        </p:grpSpPr>
        <p:sp>
          <p:nvSpPr>
            <p:cNvPr id="24" name="椭圆 23">
              <a:extLst>
                <a:ext uri="{FF2B5EF4-FFF2-40B4-BE49-F238E27FC236}">
                  <a16:creationId xmlns:a16="http://schemas.microsoft.com/office/drawing/2014/main" id="{79EE7121-C36E-E5C7-3931-BCDEE4FDFC4B}"/>
                </a:ext>
              </a:extLst>
            </p:cNvPr>
            <p:cNvSpPr/>
            <p:nvPr/>
          </p:nvSpPr>
          <p:spPr>
            <a:xfrm>
              <a:off x="437204" y="925510"/>
              <a:ext cx="754743" cy="754743"/>
            </a:xfrm>
            <a:prstGeom prst="ellipse">
              <a:avLst/>
            </a:prstGeom>
            <a:solidFill>
              <a:schemeClr val="bg1"/>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Arial"/>
                <a:ea typeface="微软雅黑"/>
                <a:cs typeface="+mn-cs"/>
              </a:endParaRPr>
            </a:p>
          </p:txBody>
        </p:sp>
        <p:sp>
          <p:nvSpPr>
            <p:cNvPr id="25" name="iconfont-11157-5276535">
              <a:extLst>
                <a:ext uri="{FF2B5EF4-FFF2-40B4-BE49-F238E27FC236}">
                  <a16:creationId xmlns:a16="http://schemas.microsoft.com/office/drawing/2014/main" id="{7A5959BC-DBF6-9F61-DE75-E45AAD5F5DD1}"/>
                </a:ext>
              </a:extLst>
            </p:cNvPr>
            <p:cNvSpPr/>
            <p:nvPr/>
          </p:nvSpPr>
          <p:spPr>
            <a:xfrm>
              <a:off x="606346" y="1093490"/>
              <a:ext cx="433677" cy="426803"/>
            </a:xfrm>
            <a:custGeom>
              <a:avLst/>
              <a:gdLst>
                <a:gd name="connsiteX0" fmla="*/ 60025 w 605236"/>
                <a:gd name="connsiteY0" fmla="*/ 344571 h 595643"/>
                <a:gd name="connsiteX1" fmla="*/ 290527 w 605236"/>
                <a:gd name="connsiteY1" fmla="*/ 344571 h 595643"/>
                <a:gd name="connsiteX2" fmla="*/ 329370 w 605236"/>
                <a:gd name="connsiteY2" fmla="*/ 376465 h 595643"/>
                <a:gd name="connsiteX3" fmla="*/ 349814 w 605236"/>
                <a:gd name="connsiteY3" fmla="*/ 479931 h 595643"/>
                <a:gd name="connsiteX4" fmla="*/ 331031 w 605236"/>
                <a:gd name="connsiteY4" fmla="*/ 528793 h 595643"/>
                <a:gd name="connsiteX5" fmla="*/ 175276 w 605236"/>
                <a:gd name="connsiteY5" fmla="*/ 595643 h 595643"/>
                <a:gd name="connsiteX6" fmla="*/ 19393 w 605236"/>
                <a:gd name="connsiteY6" fmla="*/ 528793 h 595643"/>
                <a:gd name="connsiteX7" fmla="*/ 738 w 605236"/>
                <a:gd name="connsiteY7" fmla="*/ 479931 h 595643"/>
                <a:gd name="connsiteX8" fmla="*/ 21182 w 605236"/>
                <a:gd name="connsiteY8" fmla="*/ 376465 h 595643"/>
                <a:gd name="connsiteX9" fmla="*/ 60025 w 605236"/>
                <a:gd name="connsiteY9" fmla="*/ 344571 h 595643"/>
                <a:gd name="connsiteX10" fmla="*/ 357987 w 605236"/>
                <a:gd name="connsiteY10" fmla="*/ 252695 h 595643"/>
                <a:gd name="connsiteX11" fmla="*/ 553093 w 605236"/>
                <a:gd name="connsiteY11" fmla="*/ 252695 h 595643"/>
                <a:gd name="connsiteX12" fmla="*/ 587208 w 605236"/>
                <a:gd name="connsiteY12" fmla="*/ 280762 h 595643"/>
                <a:gd name="connsiteX13" fmla="*/ 604585 w 605236"/>
                <a:gd name="connsiteY13" fmla="*/ 368409 h 595643"/>
                <a:gd name="connsiteX14" fmla="*/ 588231 w 605236"/>
                <a:gd name="connsiteY14" fmla="*/ 411020 h 595643"/>
                <a:gd name="connsiteX15" fmla="*/ 455476 w 605236"/>
                <a:gd name="connsiteY15" fmla="*/ 467920 h 595643"/>
                <a:gd name="connsiteX16" fmla="*/ 402323 w 605236"/>
                <a:gd name="connsiteY16" fmla="*/ 455928 h 595643"/>
                <a:gd name="connsiteX17" fmla="*/ 388524 w 605236"/>
                <a:gd name="connsiteY17" fmla="*/ 440618 h 595643"/>
                <a:gd name="connsiteX18" fmla="*/ 388269 w 605236"/>
                <a:gd name="connsiteY18" fmla="*/ 439725 h 595643"/>
                <a:gd name="connsiteX19" fmla="*/ 371403 w 605236"/>
                <a:gd name="connsiteY19" fmla="*/ 354503 h 595643"/>
                <a:gd name="connsiteX20" fmla="*/ 334732 w 605236"/>
                <a:gd name="connsiteY20" fmla="*/ 308064 h 595643"/>
                <a:gd name="connsiteX21" fmla="*/ 322722 w 605236"/>
                <a:gd name="connsiteY21" fmla="*/ 290458 h 595643"/>
                <a:gd name="connsiteX22" fmla="*/ 322722 w 605236"/>
                <a:gd name="connsiteY22" fmla="*/ 289693 h 595643"/>
                <a:gd name="connsiteX23" fmla="*/ 324127 w 605236"/>
                <a:gd name="connsiteY23" fmla="*/ 280762 h 595643"/>
                <a:gd name="connsiteX24" fmla="*/ 357987 w 605236"/>
                <a:gd name="connsiteY24" fmla="*/ 252695 h 595643"/>
                <a:gd name="connsiteX25" fmla="*/ 175276 w 605236"/>
                <a:gd name="connsiteY25" fmla="*/ 50313 h 595643"/>
                <a:gd name="connsiteX26" fmla="*/ 303670 w 605236"/>
                <a:gd name="connsiteY26" fmla="*/ 178531 h 595643"/>
                <a:gd name="connsiteX27" fmla="*/ 175276 w 605236"/>
                <a:gd name="connsiteY27" fmla="*/ 306749 h 595643"/>
                <a:gd name="connsiteX28" fmla="*/ 46882 w 605236"/>
                <a:gd name="connsiteY28" fmla="*/ 178531 h 595643"/>
                <a:gd name="connsiteX29" fmla="*/ 175276 w 605236"/>
                <a:gd name="connsiteY29" fmla="*/ 50313 h 595643"/>
                <a:gd name="connsiteX30" fmla="*/ 455527 w 605236"/>
                <a:gd name="connsiteY30" fmla="*/ 0 h 595643"/>
                <a:gd name="connsiteX31" fmla="*/ 562928 w 605236"/>
                <a:gd name="connsiteY31" fmla="*/ 107260 h 595643"/>
                <a:gd name="connsiteX32" fmla="*/ 455527 w 605236"/>
                <a:gd name="connsiteY32" fmla="*/ 214520 h 595643"/>
                <a:gd name="connsiteX33" fmla="*/ 348126 w 605236"/>
                <a:gd name="connsiteY33" fmla="*/ 107260 h 595643"/>
                <a:gd name="connsiteX34" fmla="*/ 455527 w 605236"/>
                <a:gd name="connsiteY34" fmla="*/ 0 h 59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05236" h="595643">
                  <a:moveTo>
                    <a:pt x="60025" y="344571"/>
                  </a:moveTo>
                  <a:lnTo>
                    <a:pt x="290527" y="344571"/>
                  </a:lnTo>
                  <a:cubicBezTo>
                    <a:pt x="308671" y="344571"/>
                    <a:pt x="325793" y="358605"/>
                    <a:pt x="329370" y="376465"/>
                  </a:cubicBezTo>
                  <a:lnTo>
                    <a:pt x="349814" y="479931"/>
                  </a:lnTo>
                  <a:cubicBezTo>
                    <a:pt x="353136" y="496898"/>
                    <a:pt x="344959" y="518331"/>
                    <a:pt x="331031" y="528793"/>
                  </a:cubicBezTo>
                  <a:cubicBezTo>
                    <a:pt x="327454" y="531472"/>
                    <a:pt x="241079" y="595643"/>
                    <a:pt x="175276" y="595643"/>
                  </a:cubicBezTo>
                  <a:cubicBezTo>
                    <a:pt x="109473" y="595643"/>
                    <a:pt x="23098" y="531472"/>
                    <a:pt x="19393" y="528793"/>
                  </a:cubicBezTo>
                  <a:cubicBezTo>
                    <a:pt x="5593" y="518331"/>
                    <a:pt x="-2584" y="496898"/>
                    <a:pt x="738" y="479931"/>
                  </a:cubicBezTo>
                  <a:lnTo>
                    <a:pt x="21182" y="376465"/>
                  </a:lnTo>
                  <a:cubicBezTo>
                    <a:pt x="24759" y="358605"/>
                    <a:pt x="41753" y="344571"/>
                    <a:pt x="60025" y="344571"/>
                  </a:cubicBezTo>
                  <a:close/>
                  <a:moveTo>
                    <a:pt x="357987" y="252695"/>
                  </a:moveTo>
                  <a:lnTo>
                    <a:pt x="553093" y="252695"/>
                  </a:lnTo>
                  <a:cubicBezTo>
                    <a:pt x="569065" y="252695"/>
                    <a:pt x="584142" y="265070"/>
                    <a:pt x="587208" y="280762"/>
                  </a:cubicBezTo>
                  <a:lnTo>
                    <a:pt x="604585" y="368409"/>
                  </a:lnTo>
                  <a:cubicBezTo>
                    <a:pt x="607524" y="383208"/>
                    <a:pt x="600241" y="401834"/>
                    <a:pt x="588231" y="411020"/>
                  </a:cubicBezTo>
                  <a:cubicBezTo>
                    <a:pt x="585164" y="413316"/>
                    <a:pt x="511696" y="467920"/>
                    <a:pt x="455476" y="467920"/>
                  </a:cubicBezTo>
                  <a:cubicBezTo>
                    <a:pt x="440272" y="467920"/>
                    <a:pt x="422384" y="463838"/>
                    <a:pt x="402323" y="455928"/>
                  </a:cubicBezTo>
                  <a:cubicBezTo>
                    <a:pt x="395679" y="453249"/>
                    <a:pt x="390824" y="447890"/>
                    <a:pt x="388524" y="440618"/>
                  </a:cubicBezTo>
                  <a:lnTo>
                    <a:pt x="388269" y="439725"/>
                  </a:lnTo>
                  <a:lnTo>
                    <a:pt x="371403" y="354503"/>
                  </a:lnTo>
                  <a:cubicBezTo>
                    <a:pt x="367697" y="335621"/>
                    <a:pt x="354537" y="318653"/>
                    <a:pt x="334732" y="308064"/>
                  </a:cubicBezTo>
                  <a:cubicBezTo>
                    <a:pt x="322722" y="301685"/>
                    <a:pt x="322722" y="291607"/>
                    <a:pt x="322722" y="290458"/>
                  </a:cubicBezTo>
                  <a:lnTo>
                    <a:pt x="322722" y="289693"/>
                  </a:lnTo>
                  <a:lnTo>
                    <a:pt x="324127" y="280762"/>
                  </a:lnTo>
                  <a:cubicBezTo>
                    <a:pt x="327194" y="265070"/>
                    <a:pt x="341888" y="252695"/>
                    <a:pt x="357987" y="252695"/>
                  </a:cubicBezTo>
                  <a:close/>
                  <a:moveTo>
                    <a:pt x="175276" y="50313"/>
                  </a:moveTo>
                  <a:cubicBezTo>
                    <a:pt x="246186" y="50313"/>
                    <a:pt x="303670" y="107718"/>
                    <a:pt x="303670" y="178531"/>
                  </a:cubicBezTo>
                  <a:cubicBezTo>
                    <a:pt x="303670" y="249344"/>
                    <a:pt x="246186" y="306749"/>
                    <a:pt x="175276" y="306749"/>
                  </a:cubicBezTo>
                  <a:cubicBezTo>
                    <a:pt x="104366" y="306749"/>
                    <a:pt x="46882" y="249344"/>
                    <a:pt x="46882" y="178531"/>
                  </a:cubicBezTo>
                  <a:cubicBezTo>
                    <a:pt x="46882" y="107718"/>
                    <a:pt x="104366" y="50313"/>
                    <a:pt x="175276" y="50313"/>
                  </a:cubicBezTo>
                  <a:close/>
                  <a:moveTo>
                    <a:pt x="455527" y="0"/>
                  </a:moveTo>
                  <a:cubicBezTo>
                    <a:pt x="514843" y="0"/>
                    <a:pt x="562928" y="48022"/>
                    <a:pt x="562928" y="107260"/>
                  </a:cubicBezTo>
                  <a:cubicBezTo>
                    <a:pt x="562928" y="166498"/>
                    <a:pt x="514843" y="214520"/>
                    <a:pt x="455527" y="214520"/>
                  </a:cubicBezTo>
                  <a:cubicBezTo>
                    <a:pt x="396211" y="214520"/>
                    <a:pt x="348126" y="166498"/>
                    <a:pt x="348126" y="107260"/>
                  </a:cubicBezTo>
                  <a:cubicBezTo>
                    <a:pt x="348126" y="48022"/>
                    <a:pt x="396211" y="0"/>
                    <a:pt x="455527" y="0"/>
                  </a:cubicBezTo>
                  <a:close/>
                </a:path>
              </a:pathLst>
            </a:custGeom>
            <a:solidFill>
              <a:srgbClr val="B6D4F0"/>
            </a:solidFill>
            <a:ln w="19050">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F0502020204030204"/>
                <a:ea typeface="微软雅黑"/>
                <a:cs typeface="+mn-cs"/>
              </a:endParaRPr>
            </a:p>
          </p:txBody>
        </p:sp>
      </p:grpSp>
      <p:sp>
        <p:nvSpPr>
          <p:cNvPr id="16" name="文本框 15">
            <a:extLst>
              <a:ext uri="{FF2B5EF4-FFF2-40B4-BE49-F238E27FC236}">
                <a16:creationId xmlns:a16="http://schemas.microsoft.com/office/drawing/2014/main" id="{09179D82-EBC4-8701-D2CE-436803C76747}"/>
              </a:ext>
            </a:extLst>
          </p:cNvPr>
          <p:cNvSpPr txBox="1"/>
          <p:nvPr/>
        </p:nvSpPr>
        <p:spPr>
          <a:xfrm>
            <a:off x="826164" y="938558"/>
            <a:ext cx="3949644" cy="458459"/>
          </a:xfrm>
          <a:prstGeom prst="rect">
            <a:avLst/>
          </a:prstGeom>
          <a:noFill/>
        </p:spPr>
        <p:txBody>
          <a:bodyPr wrap="square">
            <a:spAutoFit/>
          </a:bodyPr>
          <a:lstStyle/>
          <a:p>
            <a:pPr marL="0" marR="0" lvl="0" indent="0" algn="ctr" defTabSz="913765" rtl="0" eaLnBrk="1" fontAlgn="auto" latinLnBrk="0" hangingPunct="1">
              <a:lnSpc>
                <a:spcPct val="15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所治疗疾病对公共健康的影响</a:t>
            </a:r>
          </a:p>
        </p:txBody>
      </p:sp>
      <p:sp>
        <p:nvSpPr>
          <p:cNvPr id="18" name="圆角矩形 15">
            <a:extLst>
              <a:ext uri="{FF2B5EF4-FFF2-40B4-BE49-F238E27FC236}">
                <a16:creationId xmlns:a16="http://schemas.microsoft.com/office/drawing/2014/main" id="{2CBE9DC6-67AE-8EB4-F17B-D481ED91CAD3}"/>
              </a:ext>
            </a:extLst>
          </p:cNvPr>
          <p:cNvSpPr>
            <a:spLocks/>
          </p:cNvSpPr>
          <p:nvPr/>
        </p:nvSpPr>
        <p:spPr>
          <a:xfrm>
            <a:off x="371153" y="3746999"/>
            <a:ext cx="11119474" cy="498475"/>
          </a:xfrm>
          <a:prstGeom prst="roundRect">
            <a:avLst>
              <a:gd name="adj" fmla="val 50000"/>
            </a:avLst>
          </a:prstGeom>
          <a:gradFill>
            <a:gsLst>
              <a:gs pos="30000">
                <a:srgbClr val="2473BA"/>
              </a:gs>
              <a:gs pos="100000">
                <a:schemeClr val="bg1">
                  <a:alpha val="0"/>
                </a:schemeClr>
              </a:gs>
            </a:gsLst>
            <a:lin ang="0" scaled="0"/>
          </a:gra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5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srgbClr val="70AD47"/>
              </a:solidFill>
              <a:effectLst/>
              <a:uLnTx/>
              <a:uFillTx/>
              <a:latin typeface="Arial" panose="020B0604020202020204" pitchFamily="34" charset="0"/>
              <a:ea typeface="微软雅黑" panose="020B0503020204020204" pitchFamily="34" charset="-122"/>
              <a:cs typeface="+mn-cs"/>
            </a:endParaRPr>
          </a:p>
        </p:txBody>
      </p:sp>
      <p:grpSp>
        <p:nvGrpSpPr>
          <p:cNvPr id="26" name="Group 18">
            <a:extLst>
              <a:ext uri="{FF2B5EF4-FFF2-40B4-BE49-F238E27FC236}">
                <a16:creationId xmlns:a16="http://schemas.microsoft.com/office/drawing/2014/main" id="{C68DDCC0-723D-E4AC-F3C7-D137963C3DA0}"/>
              </a:ext>
            </a:extLst>
          </p:cNvPr>
          <p:cNvGrpSpPr/>
          <p:nvPr/>
        </p:nvGrpSpPr>
        <p:grpSpPr>
          <a:xfrm>
            <a:off x="371153" y="3655598"/>
            <a:ext cx="607044" cy="607044"/>
            <a:chOff x="437204" y="925510"/>
            <a:chExt cx="754743" cy="754743"/>
          </a:xfrm>
        </p:grpSpPr>
        <p:sp>
          <p:nvSpPr>
            <p:cNvPr id="27" name="椭圆 26">
              <a:extLst>
                <a:ext uri="{FF2B5EF4-FFF2-40B4-BE49-F238E27FC236}">
                  <a16:creationId xmlns:a16="http://schemas.microsoft.com/office/drawing/2014/main" id="{F5A101CE-E52E-8CC9-8CF0-D9AA728616E3}"/>
                </a:ext>
              </a:extLst>
            </p:cNvPr>
            <p:cNvSpPr/>
            <p:nvPr/>
          </p:nvSpPr>
          <p:spPr>
            <a:xfrm>
              <a:off x="437204" y="925510"/>
              <a:ext cx="754743" cy="754743"/>
            </a:xfrm>
            <a:prstGeom prst="ellipse">
              <a:avLst/>
            </a:prstGeom>
            <a:solidFill>
              <a:schemeClr val="bg1"/>
            </a:solidFill>
            <a:ln>
              <a:solidFill>
                <a:srgbClr val="2473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Arial"/>
                <a:ea typeface="微软雅黑"/>
                <a:cs typeface="+mn-cs"/>
              </a:endParaRPr>
            </a:p>
          </p:txBody>
        </p:sp>
        <p:sp>
          <p:nvSpPr>
            <p:cNvPr id="28" name="iconfont-11157-5276535">
              <a:extLst>
                <a:ext uri="{FF2B5EF4-FFF2-40B4-BE49-F238E27FC236}">
                  <a16:creationId xmlns:a16="http://schemas.microsoft.com/office/drawing/2014/main" id="{5E4A4094-D870-49E2-AD2E-F0BFB70316F7}"/>
                </a:ext>
              </a:extLst>
            </p:cNvPr>
            <p:cNvSpPr/>
            <p:nvPr/>
          </p:nvSpPr>
          <p:spPr>
            <a:xfrm>
              <a:off x="572024" y="1094958"/>
              <a:ext cx="468000" cy="390090"/>
            </a:xfrm>
            <a:custGeom>
              <a:avLst/>
              <a:gdLst>
                <a:gd name="T0" fmla="*/ 5547 w 8960"/>
                <a:gd name="T1" fmla="*/ 2347 h 7467"/>
                <a:gd name="T2" fmla="*/ 5120 w 8960"/>
                <a:gd name="T3" fmla="*/ 4394 h 7467"/>
                <a:gd name="T4" fmla="*/ 1572 w 8960"/>
                <a:gd name="T5" fmla="*/ 2358 h 7467"/>
                <a:gd name="T6" fmla="*/ 6288 w 8960"/>
                <a:gd name="T7" fmla="*/ 2347 h 7467"/>
                <a:gd name="T8" fmla="*/ 5120 w 8960"/>
                <a:gd name="T9" fmla="*/ 7040 h 7467"/>
                <a:gd name="T10" fmla="*/ 157 w 8960"/>
                <a:gd name="T11" fmla="*/ 7467 h 7467"/>
                <a:gd name="T12" fmla="*/ 0 w 8960"/>
                <a:gd name="T13" fmla="*/ 6703 h 7467"/>
                <a:gd name="T14" fmla="*/ 2538 w 8960"/>
                <a:gd name="T15" fmla="*/ 5113 h 7467"/>
                <a:gd name="T16" fmla="*/ 2633 w 8960"/>
                <a:gd name="T17" fmla="*/ 5109 h 7467"/>
                <a:gd name="T18" fmla="*/ 3733 w 8960"/>
                <a:gd name="T19" fmla="*/ 5374 h 7467"/>
                <a:gd name="T20" fmla="*/ 4833 w 8960"/>
                <a:gd name="T21" fmla="*/ 5109 h 7467"/>
                <a:gd name="T22" fmla="*/ 4989 w 8960"/>
                <a:gd name="T23" fmla="*/ 5129 h 7467"/>
                <a:gd name="T24" fmla="*/ 5973 w 8960"/>
                <a:gd name="T25" fmla="*/ 2774 h 7467"/>
                <a:gd name="T26" fmla="*/ 8960 w 8960"/>
                <a:gd name="T27" fmla="*/ 3200 h 7467"/>
                <a:gd name="T28" fmla="*/ 8533 w 8960"/>
                <a:gd name="T29" fmla="*/ 7467 h 7467"/>
                <a:gd name="T30" fmla="*/ 5547 w 8960"/>
                <a:gd name="T31" fmla="*/ 7040 h 7467"/>
                <a:gd name="T32" fmla="*/ 5973 w 8960"/>
                <a:gd name="T33" fmla="*/ 2774 h 7467"/>
                <a:gd name="T34" fmla="*/ 5973 w 8960"/>
                <a:gd name="T35" fmla="*/ 3414 h 7467"/>
                <a:gd name="T36" fmla="*/ 6187 w 8960"/>
                <a:gd name="T37" fmla="*/ 7040 h 7467"/>
                <a:gd name="T38" fmla="*/ 8533 w 8960"/>
                <a:gd name="T39" fmla="*/ 6827 h 7467"/>
                <a:gd name="T40" fmla="*/ 8320 w 8960"/>
                <a:gd name="T41" fmla="*/ 3200 h 7467"/>
                <a:gd name="T42" fmla="*/ 6613 w 8960"/>
                <a:gd name="T43" fmla="*/ 3840 h 7467"/>
                <a:gd name="T44" fmla="*/ 8107 w 8960"/>
                <a:gd name="T45" fmla="*/ 4054 h 7467"/>
                <a:gd name="T46" fmla="*/ 6613 w 8960"/>
                <a:gd name="T47" fmla="*/ 4267 h 7467"/>
                <a:gd name="T48" fmla="*/ 6613 w 8960"/>
                <a:gd name="T49" fmla="*/ 3840 h 7467"/>
                <a:gd name="T50" fmla="*/ 7893 w 8960"/>
                <a:gd name="T51" fmla="*/ 4907 h 7467"/>
                <a:gd name="T52" fmla="*/ 7893 w 8960"/>
                <a:gd name="T53" fmla="*/ 5334 h 7467"/>
                <a:gd name="T54" fmla="*/ 6400 w 8960"/>
                <a:gd name="T55" fmla="*/ 5120 h 7467"/>
                <a:gd name="T56" fmla="*/ 6613 w 8960"/>
                <a:gd name="T57" fmla="*/ 5974 h 7467"/>
                <a:gd name="T58" fmla="*/ 7253 w 8960"/>
                <a:gd name="T59" fmla="*/ 6187 h 7467"/>
                <a:gd name="T60" fmla="*/ 6613 w 8960"/>
                <a:gd name="T61" fmla="*/ 6400 h 7467"/>
                <a:gd name="T62" fmla="*/ 6613 w 8960"/>
                <a:gd name="T63" fmla="*/ 5974 h 7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60" h="7467">
                  <a:moveTo>
                    <a:pt x="6288" y="2347"/>
                  </a:moveTo>
                  <a:lnTo>
                    <a:pt x="5547" y="2347"/>
                  </a:lnTo>
                  <a:cubicBezTo>
                    <a:pt x="5311" y="2347"/>
                    <a:pt x="5120" y="2538"/>
                    <a:pt x="5120" y="2774"/>
                  </a:cubicBezTo>
                  <a:lnTo>
                    <a:pt x="5120" y="4394"/>
                  </a:lnTo>
                  <a:cubicBezTo>
                    <a:pt x="4759" y="4606"/>
                    <a:pt x="4348" y="4717"/>
                    <a:pt x="3930" y="4716"/>
                  </a:cubicBezTo>
                  <a:cubicBezTo>
                    <a:pt x="2628" y="4716"/>
                    <a:pt x="1572" y="3660"/>
                    <a:pt x="1572" y="2358"/>
                  </a:cubicBezTo>
                  <a:cubicBezTo>
                    <a:pt x="1572" y="1056"/>
                    <a:pt x="2628" y="0"/>
                    <a:pt x="3930" y="0"/>
                  </a:cubicBezTo>
                  <a:cubicBezTo>
                    <a:pt x="5228" y="0"/>
                    <a:pt x="6282" y="1050"/>
                    <a:pt x="6288" y="2347"/>
                  </a:cubicBezTo>
                  <a:close/>
                  <a:moveTo>
                    <a:pt x="5120" y="5166"/>
                  </a:moveTo>
                  <a:lnTo>
                    <a:pt x="5120" y="7040"/>
                  </a:lnTo>
                  <a:cubicBezTo>
                    <a:pt x="5120" y="7276"/>
                    <a:pt x="5311" y="7467"/>
                    <a:pt x="5547" y="7467"/>
                  </a:cubicBezTo>
                  <a:lnTo>
                    <a:pt x="157" y="7467"/>
                  </a:lnTo>
                  <a:cubicBezTo>
                    <a:pt x="70" y="7467"/>
                    <a:pt x="0" y="7393"/>
                    <a:pt x="0" y="7300"/>
                  </a:cubicBezTo>
                  <a:lnTo>
                    <a:pt x="0" y="6703"/>
                  </a:lnTo>
                  <a:cubicBezTo>
                    <a:pt x="0" y="6658"/>
                    <a:pt x="17" y="6614"/>
                    <a:pt x="47" y="6583"/>
                  </a:cubicBezTo>
                  <a:cubicBezTo>
                    <a:pt x="750" y="5855"/>
                    <a:pt x="1612" y="5347"/>
                    <a:pt x="2538" y="5113"/>
                  </a:cubicBezTo>
                  <a:cubicBezTo>
                    <a:pt x="2550" y="5111"/>
                    <a:pt x="2562" y="5109"/>
                    <a:pt x="2574" y="5109"/>
                  </a:cubicBezTo>
                  <a:lnTo>
                    <a:pt x="2633" y="5109"/>
                  </a:lnTo>
                  <a:cubicBezTo>
                    <a:pt x="2660" y="5109"/>
                    <a:pt x="2685" y="5116"/>
                    <a:pt x="2707" y="5129"/>
                  </a:cubicBezTo>
                  <a:cubicBezTo>
                    <a:pt x="2980" y="5285"/>
                    <a:pt x="3354" y="5374"/>
                    <a:pt x="3733" y="5374"/>
                  </a:cubicBezTo>
                  <a:cubicBezTo>
                    <a:pt x="4112" y="5374"/>
                    <a:pt x="4486" y="5285"/>
                    <a:pt x="4759" y="5129"/>
                  </a:cubicBezTo>
                  <a:cubicBezTo>
                    <a:pt x="4781" y="5116"/>
                    <a:pt x="4807" y="5109"/>
                    <a:pt x="4833" y="5109"/>
                  </a:cubicBezTo>
                  <a:lnTo>
                    <a:pt x="4915" y="5109"/>
                  </a:lnTo>
                  <a:cubicBezTo>
                    <a:pt x="4941" y="5109"/>
                    <a:pt x="4966" y="5116"/>
                    <a:pt x="4989" y="5129"/>
                  </a:cubicBezTo>
                  <a:cubicBezTo>
                    <a:pt x="5033" y="5141"/>
                    <a:pt x="5077" y="5153"/>
                    <a:pt x="5120" y="5166"/>
                  </a:cubicBezTo>
                  <a:close/>
                  <a:moveTo>
                    <a:pt x="5973" y="2774"/>
                  </a:moveTo>
                  <a:lnTo>
                    <a:pt x="8533" y="2774"/>
                  </a:lnTo>
                  <a:cubicBezTo>
                    <a:pt x="8769" y="2774"/>
                    <a:pt x="8960" y="2965"/>
                    <a:pt x="8960" y="3200"/>
                  </a:cubicBezTo>
                  <a:lnTo>
                    <a:pt x="8960" y="7040"/>
                  </a:lnTo>
                  <a:cubicBezTo>
                    <a:pt x="8960" y="7276"/>
                    <a:pt x="8769" y="7467"/>
                    <a:pt x="8533" y="7467"/>
                  </a:cubicBezTo>
                  <a:lnTo>
                    <a:pt x="5973" y="7467"/>
                  </a:lnTo>
                  <a:cubicBezTo>
                    <a:pt x="5738" y="7467"/>
                    <a:pt x="5547" y="7276"/>
                    <a:pt x="5547" y="7040"/>
                  </a:cubicBezTo>
                  <a:lnTo>
                    <a:pt x="5547" y="3200"/>
                  </a:lnTo>
                  <a:cubicBezTo>
                    <a:pt x="5547" y="2965"/>
                    <a:pt x="5738" y="2774"/>
                    <a:pt x="5973" y="2774"/>
                  </a:cubicBezTo>
                  <a:close/>
                  <a:moveTo>
                    <a:pt x="6187" y="3200"/>
                  </a:moveTo>
                  <a:cubicBezTo>
                    <a:pt x="6069" y="3200"/>
                    <a:pt x="5973" y="3296"/>
                    <a:pt x="5973" y="3414"/>
                  </a:cubicBezTo>
                  <a:lnTo>
                    <a:pt x="5973" y="6827"/>
                  </a:lnTo>
                  <a:cubicBezTo>
                    <a:pt x="5973" y="6945"/>
                    <a:pt x="6069" y="7040"/>
                    <a:pt x="6187" y="7040"/>
                  </a:cubicBezTo>
                  <a:lnTo>
                    <a:pt x="8320" y="7040"/>
                  </a:lnTo>
                  <a:cubicBezTo>
                    <a:pt x="8438" y="7040"/>
                    <a:pt x="8533" y="6945"/>
                    <a:pt x="8533" y="6827"/>
                  </a:cubicBezTo>
                  <a:lnTo>
                    <a:pt x="8533" y="3414"/>
                  </a:lnTo>
                  <a:cubicBezTo>
                    <a:pt x="8533" y="3296"/>
                    <a:pt x="8438" y="3200"/>
                    <a:pt x="8320" y="3200"/>
                  </a:cubicBezTo>
                  <a:lnTo>
                    <a:pt x="6187" y="3200"/>
                  </a:lnTo>
                  <a:close/>
                  <a:moveTo>
                    <a:pt x="6613" y="3840"/>
                  </a:moveTo>
                  <a:lnTo>
                    <a:pt x="7893" y="3840"/>
                  </a:lnTo>
                  <a:cubicBezTo>
                    <a:pt x="8011" y="3840"/>
                    <a:pt x="8107" y="3936"/>
                    <a:pt x="8107" y="4054"/>
                  </a:cubicBezTo>
                  <a:cubicBezTo>
                    <a:pt x="8107" y="4171"/>
                    <a:pt x="8011" y="4267"/>
                    <a:pt x="7893" y="4267"/>
                  </a:cubicBezTo>
                  <a:lnTo>
                    <a:pt x="6613" y="4267"/>
                  </a:lnTo>
                  <a:cubicBezTo>
                    <a:pt x="6496" y="4267"/>
                    <a:pt x="6400" y="4171"/>
                    <a:pt x="6400" y="4054"/>
                  </a:cubicBezTo>
                  <a:cubicBezTo>
                    <a:pt x="6400" y="3936"/>
                    <a:pt x="6496" y="3840"/>
                    <a:pt x="6613" y="3840"/>
                  </a:cubicBezTo>
                  <a:close/>
                  <a:moveTo>
                    <a:pt x="6613" y="4907"/>
                  </a:moveTo>
                  <a:lnTo>
                    <a:pt x="7893" y="4907"/>
                  </a:lnTo>
                  <a:cubicBezTo>
                    <a:pt x="8011" y="4907"/>
                    <a:pt x="8107" y="5003"/>
                    <a:pt x="8107" y="5120"/>
                  </a:cubicBezTo>
                  <a:cubicBezTo>
                    <a:pt x="8107" y="5238"/>
                    <a:pt x="8011" y="5334"/>
                    <a:pt x="7893" y="5334"/>
                  </a:cubicBezTo>
                  <a:lnTo>
                    <a:pt x="6613" y="5334"/>
                  </a:lnTo>
                  <a:cubicBezTo>
                    <a:pt x="6496" y="5334"/>
                    <a:pt x="6400" y="5238"/>
                    <a:pt x="6400" y="5120"/>
                  </a:cubicBezTo>
                  <a:cubicBezTo>
                    <a:pt x="6400" y="5003"/>
                    <a:pt x="6496" y="4907"/>
                    <a:pt x="6613" y="4907"/>
                  </a:cubicBezTo>
                  <a:close/>
                  <a:moveTo>
                    <a:pt x="6613" y="5974"/>
                  </a:moveTo>
                  <a:lnTo>
                    <a:pt x="7040" y="5974"/>
                  </a:lnTo>
                  <a:cubicBezTo>
                    <a:pt x="7158" y="5974"/>
                    <a:pt x="7253" y="6069"/>
                    <a:pt x="7253" y="6187"/>
                  </a:cubicBezTo>
                  <a:cubicBezTo>
                    <a:pt x="7253" y="6305"/>
                    <a:pt x="7158" y="6400"/>
                    <a:pt x="7040" y="6400"/>
                  </a:cubicBezTo>
                  <a:lnTo>
                    <a:pt x="6613" y="6400"/>
                  </a:lnTo>
                  <a:cubicBezTo>
                    <a:pt x="6496" y="6400"/>
                    <a:pt x="6400" y="6305"/>
                    <a:pt x="6400" y="6187"/>
                  </a:cubicBezTo>
                  <a:cubicBezTo>
                    <a:pt x="6400" y="6069"/>
                    <a:pt x="6496" y="5974"/>
                    <a:pt x="6613" y="5974"/>
                  </a:cubicBezTo>
                  <a:close/>
                </a:path>
              </a:pathLst>
            </a:custGeom>
            <a:solidFill>
              <a:srgbClr val="2473BA"/>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F0502020204030204"/>
                <a:ea typeface="微软雅黑"/>
                <a:cs typeface="+mn-cs"/>
              </a:endParaRPr>
            </a:p>
          </p:txBody>
        </p:sp>
      </p:grpSp>
      <p:sp>
        <p:nvSpPr>
          <p:cNvPr id="22" name="文本框 21">
            <a:extLst>
              <a:ext uri="{FF2B5EF4-FFF2-40B4-BE49-F238E27FC236}">
                <a16:creationId xmlns:a16="http://schemas.microsoft.com/office/drawing/2014/main" id="{0B3A21A9-484E-4E15-BC7D-46DC970BC3C0}"/>
              </a:ext>
            </a:extLst>
          </p:cNvPr>
          <p:cNvSpPr txBox="1"/>
          <p:nvPr/>
        </p:nvSpPr>
        <p:spPr>
          <a:xfrm>
            <a:off x="826164" y="3729890"/>
            <a:ext cx="3110836" cy="458459"/>
          </a:xfrm>
          <a:prstGeom prst="rect">
            <a:avLst/>
          </a:prstGeom>
          <a:noFill/>
        </p:spPr>
        <p:txBody>
          <a:bodyPr wrap="square">
            <a:spAutoFit/>
          </a:bodyPr>
          <a:lstStyle/>
          <a:p>
            <a:pPr marL="0" marR="0" lvl="0" indent="0" algn="ctr" defTabSz="913765" rtl="0" eaLnBrk="1" fontAlgn="auto" latinLnBrk="0" hangingPunct="1">
              <a:lnSpc>
                <a:spcPct val="15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rPr>
              <a:t>符合“保基本”原则</a:t>
            </a:r>
          </a:p>
        </p:txBody>
      </p:sp>
      <p:sp>
        <p:nvSpPr>
          <p:cNvPr id="19" name="文本框 18">
            <a:extLst>
              <a:ext uri="{FF2B5EF4-FFF2-40B4-BE49-F238E27FC236}">
                <a16:creationId xmlns:a16="http://schemas.microsoft.com/office/drawing/2014/main" id="{8596E77E-E109-7CFB-A086-5787071C6EE5}"/>
              </a:ext>
            </a:extLst>
          </p:cNvPr>
          <p:cNvSpPr txBox="1"/>
          <p:nvPr/>
        </p:nvSpPr>
        <p:spPr>
          <a:xfrm>
            <a:off x="507195" y="5919442"/>
            <a:ext cx="10811710" cy="215444"/>
          </a:xfrm>
          <a:prstGeom prst="rect">
            <a:avLst/>
          </a:prstGeom>
          <a:noFill/>
        </p:spPr>
        <p:txBody>
          <a:bodyPr wrap="square" rtlCol="0">
            <a:spAutoFit/>
          </a:bodyPr>
          <a:lstStyle/>
          <a:p>
            <a:r>
              <a:rPr lang="en-US" altLang="zh-CN" sz="800" dirty="0">
                <a:solidFill>
                  <a:prstClr val="black"/>
                </a:solidFill>
                <a:latin typeface="微软雅黑"/>
                <a:ea typeface="微软雅黑"/>
              </a:rPr>
              <a:t>33.</a:t>
            </a:r>
            <a:r>
              <a:rPr lang="zh-CN" altLang="en-US" sz="800" dirty="0">
                <a:solidFill>
                  <a:prstClr val="black"/>
                </a:solidFill>
                <a:latin typeface="微软雅黑"/>
                <a:ea typeface="微软雅黑"/>
              </a:rPr>
              <a:t> </a:t>
            </a:r>
            <a:r>
              <a:rPr lang="en-US" altLang="zh-CN" sz="800" dirty="0">
                <a:solidFill>
                  <a:srgbClr val="242424"/>
                </a:solidFill>
                <a:effectLst/>
                <a:latin typeface="-apple-system"/>
              </a:rPr>
              <a:t>Antonio </a:t>
            </a:r>
            <a:r>
              <a:rPr lang="en-US" altLang="zh-CN" sz="800" dirty="0" err="1">
                <a:solidFill>
                  <a:srgbClr val="242424"/>
                </a:solidFill>
                <a:effectLst/>
                <a:latin typeface="-apple-system"/>
              </a:rPr>
              <a:t>Scalfari</a:t>
            </a:r>
            <a:r>
              <a:rPr lang="en-US" altLang="zh-CN" sz="800" dirty="0">
                <a:solidFill>
                  <a:srgbClr val="242424"/>
                </a:solidFill>
                <a:effectLst/>
                <a:latin typeface="-apple-system"/>
              </a:rPr>
              <a:t>. Neurology </a:t>
            </a:r>
            <a:r>
              <a:rPr lang="zh-CN" altLang="en-US" sz="800" dirty="0">
                <a:solidFill>
                  <a:srgbClr val="242424"/>
                </a:solidFill>
                <a:effectLst/>
                <a:latin typeface="-apple-system"/>
              </a:rPr>
              <a:t>　</a:t>
            </a:r>
            <a:endParaRPr lang="zh-CN" altLang="en-US" sz="800" dirty="0"/>
          </a:p>
        </p:txBody>
      </p:sp>
    </p:spTree>
    <p:custDataLst>
      <p:tags r:id="rId1"/>
    </p:custDataLst>
    <p:extLst>
      <p:ext uri="{BB962C8B-B14F-4D97-AF65-F5344CB8AC3E}">
        <p14:creationId xmlns:p14="http://schemas.microsoft.com/office/powerpoint/2010/main" val="2290487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IDE.ICON" val="#16116;#402647;#141418;#169680;#945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ISLIDE.ICON" val="#13094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ISLIDE.ICON" val="#158208;#37093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ISLIDE.ICON" val="#370807;#559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t295SZGXeZ8q0Kbuk98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SLIDE.ICON" val="#38009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tart">
  <a:themeElements>
    <a:clrScheme name="Custom 46">
      <a:dk1>
        <a:srgbClr val="666666"/>
      </a:dk1>
      <a:lt1>
        <a:srgbClr val="FFFFFF"/>
      </a:lt1>
      <a:dk2>
        <a:srgbClr val="213766"/>
      </a:dk2>
      <a:lt2>
        <a:srgbClr val="E7E6E6"/>
      </a:lt2>
      <a:accent1>
        <a:srgbClr val="223867"/>
      </a:accent1>
      <a:accent2>
        <a:srgbClr val="EF3D33"/>
      </a:accent2>
      <a:accent3>
        <a:srgbClr val="FCDC53"/>
      </a:accent3>
      <a:accent4>
        <a:srgbClr val="A5D9D0"/>
      </a:accent4>
      <a:accent5>
        <a:srgbClr val="028CA6"/>
      </a:accent5>
      <a:accent6>
        <a:srgbClr val="EBEBEC"/>
      </a:accent6>
      <a:hlink>
        <a:srgbClr val="203666"/>
      </a:hlink>
      <a:folHlink>
        <a:srgbClr val="FF00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spPr>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12700">
          <a:noFill/>
        </a:ln>
      </a:spPr>
      <a:bodyPr wrap="none" lIns="45720" rIns="45720" rtlCol="0">
        <a:spAutoFit/>
      </a:bodyPr>
      <a:lstStyle>
        <a:defPPr algn="l">
          <a:defRPr sz="1600" dirty="0" err="1" smtClean="0">
            <a:solidFill>
              <a:srgbClr val="66666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SPGL19CDNY9010_OneStepAhead_16x9_Template_US_r1" id="{2FAC90D9-573F-2B4F-AF94-F34CB14A32DD}" vid="{FF9BE22D-F6CD-9447-8EC2-4EF54EC197EE}"/>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557</TotalTime>
  <Words>2706</Words>
  <Application>Microsoft Office PowerPoint</Application>
  <PresentationFormat>宽屏</PresentationFormat>
  <Paragraphs>231</Paragraphs>
  <Slides>10</Slides>
  <Notes>9</Notes>
  <HiddenSlides>0</HiddenSlides>
  <MMClips>0</MMClips>
  <ScaleCrop>false</ScaleCrop>
  <HeadingPairs>
    <vt:vector size="8" baseType="variant">
      <vt:variant>
        <vt:lpstr>已用的字体</vt:lpstr>
      </vt:variant>
      <vt:variant>
        <vt:i4>12</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26" baseType="lpstr">
      <vt:lpstr>-apple-system</vt:lpstr>
      <vt:lpstr>Noto Sans CJK JP Medium</vt:lpstr>
      <vt:lpstr>Noto Serif CJK JP</vt:lpstr>
      <vt:lpstr>等线</vt:lpstr>
      <vt:lpstr>等线 Light</vt:lpstr>
      <vt:lpstr>微软雅黑</vt:lpstr>
      <vt:lpstr>Arial</vt:lpstr>
      <vt:lpstr>Calibri</vt:lpstr>
      <vt:lpstr>Calibri Light</vt:lpstr>
      <vt:lpstr>Segoe UI</vt:lpstr>
      <vt:lpstr>Times New Roman</vt:lpstr>
      <vt:lpstr>Wingdings</vt:lpstr>
      <vt:lpstr>1_Office 主题</vt:lpstr>
      <vt:lpstr>自定义设计方案</vt:lpstr>
      <vt:lpstr>1_Start</vt:lpstr>
      <vt:lpstr>think-cell 幻灯片</vt:lpstr>
      <vt:lpstr>PowerPoint 演示文稿</vt:lpstr>
      <vt:lpstr>PowerPoint 演示文稿</vt:lpstr>
      <vt:lpstr>01 药品基本信息</vt:lpstr>
      <vt:lpstr>02 安全性-上：常见不良反应轻中度</vt:lpstr>
      <vt:lpstr>02 安全性-下：更适合特殊人群、特殊病生理状态</vt:lpstr>
      <vt:lpstr>03 有效性：一线高效、获益风险比高、权威指南/共识推荐</vt:lpstr>
      <vt:lpstr>04 创新性-上：双重机制保护髓鞘和神经元，不降低疫苗应答率</vt:lpstr>
      <vt:lpstr>04 创新性-下：被纳入临床急需境外新药名单和优先审评</vt:lpstr>
      <vt:lpstr>05 公平性-上 </vt:lpstr>
      <vt:lpstr>06 公平性-下：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ep PAP and explore Innovative payment scheme</dc:title>
  <dc:creator>Lin Zhu</dc:creator>
  <cp:lastModifiedBy>Lin Zhu</cp:lastModifiedBy>
  <cp:revision>31</cp:revision>
  <dcterms:created xsi:type="dcterms:W3CDTF">2022-06-23T03:12:25Z</dcterms:created>
  <dcterms:modified xsi:type="dcterms:W3CDTF">2022-07-13T04:27:56Z</dcterms:modified>
</cp:coreProperties>
</file>